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72" r:id="rId2"/>
    <p:sldId id="329" r:id="rId3"/>
    <p:sldId id="333" r:id="rId4"/>
    <p:sldId id="328" r:id="rId5"/>
    <p:sldId id="315" r:id="rId6"/>
    <p:sldId id="324" r:id="rId7"/>
    <p:sldId id="331" r:id="rId8"/>
    <p:sldId id="330" r:id="rId9"/>
    <p:sldId id="337" r:id="rId10"/>
    <p:sldId id="338" r:id="rId11"/>
    <p:sldId id="339" r:id="rId12"/>
    <p:sldId id="336" r:id="rId13"/>
    <p:sldId id="305" r:id="rId14"/>
    <p:sldId id="341" r:id="rId15"/>
    <p:sldId id="342" r:id="rId16"/>
    <p:sldId id="335" r:id="rId17"/>
    <p:sldId id="334" r:id="rId18"/>
    <p:sldId id="340" r:id="rId19"/>
    <p:sldId id="295" r:id="rId20"/>
  </p:sldIdLst>
  <p:sldSz cx="9144000" cy="6858000" type="screen4x3"/>
  <p:notesSz cx="6858000" cy="9144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i="1" kern="1200">
        <a:solidFill>
          <a:schemeClr val="tx1"/>
        </a:solidFill>
        <a:latin typeface="Arial" charset="0"/>
        <a:ea typeface="华文细黑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i="1" kern="1200">
        <a:solidFill>
          <a:schemeClr val="tx1"/>
        </a:solidFill>
        <a:latin typeface="Arial" charset="0"/>
        <a:ea typeface="华文细黑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i="1" kern="1200">
        <a:solidFill>
          <a:schemeClr val="tx1"/>
        </a:solidFill>
        <a:latin typeface="Arial" charset="0"/>
        <a:ea typeface="华文细黑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i="1" kern="1200">
        <a:solidFill>
          <a:schemeClr val="tx1"/>
        </a:solidFill>
        <a:latin typeface="Arial" charset="0"/>
        <a:ea typeface="华文细黑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i="1" kern="1200">
        <a:solidFill>
          <a:schemeClr val="tx1"/>
        </a:solidFill>
        <a:latin typeface="Arial" charset="0"/>
        <a:ea typeface="华文细黑" pitchFamily="2" charset="-122"/>
        <a:cs typeface="+mn-cs"/>
      </a:defRPr>
    </a:lvl5pPr>
    <a:lvl6pPr marL="2286000" algn="l" defTabSz="914400" rtl="0" eaLnBrk="1" latinLnBrk="0" hangingPunct="1">
      <a:defRPr i="1" kern="1200">
        <a:solidFill>
          <a:schemeClr val="tx1"/>
        </a:solidFill>
        <a:latin typeface="Arial" charset="0"/>
        <a:ea typeface="华文细黑" pitchFamily="2" charset="-122"/>
        <a:cs typeface="+mn-cs"/>
      </a:defRPr>
    </a:lvl6pPr>
    <a:lvl7pPr marL="2743200" algn="l" defTabSz="914400" rtl="0" eaLnBrk="1" latinLnBrk="0" hangingPunct="1">
      <a:defRPr i="1" kern="1200">
        <a:solidFill>
          <a:schemeClr val="tx1"/>
        </a:solidFill>
        <a:latin typeface="Arial" charset="0"/>
        <a:ea typeface="华文细黑" pitchFamily="2" charset="-122"/>
        <a:cs typeface="+mn-cs"/>
      </a:defRPr>
    </a:lvl7pPr>
    <a:lvl8pPr marL="3200400" algn="l" defTabSz="914400" rtl="0" eaLnBrk="1" latinLnBrk="0" hangingPunct="1">
      <a:defRPr i="1" kern="1200">
        <a:solidFill>
          <a:schemeClr val="tx1"/>
        </a:solidFill>
        <a:latin typeface="Arial" charset="0"/>
        <a:ea typeface="华文细黑" pitchFamily="2" charset="-122"/>
        <a:cs typeface="+mn-cs"/>
      </a:defRPr>
    </a:lvl8pPr>
    <a:lvl9pPr marL="3657600" algn="l" defTabSz="914400" rtl="0" eaLnBrk="1" latinLnBrk="0" hangingPunct="1">
      <a:defRPr i="1" kern="1200">
        <a:solidFill>
          <a:schemeClr val="tx1"/>
        </a:solidFill>
        <a:latin typeface="Arial" charset="0"/>
        <a:ea typeface="华文细黑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2703"/>
    <a:srgbClr val="FF6600"/>
    <a:srgbClr val="E91B05"/>
    <a:srgbClr val="2D96FF"/>
    <a:srgbClr val="9B723B"/>
    <a:srgbClr val="D18C2F"/>
    <a:srgbClr val="E232D5"/>
    <a:srgbClr val="FE50FE"/>
    <a:srgbClr val="0A6188"/>
    <a:srgbClr val="29709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4890" autoAdjust="0"/>
    <p:restoredTop sz="87013" autoAdjust="0"/>
  </p:normalViewPr>
  <p:slideViewPr>
    <p:cSldViewPr snapToGrid="0">
      <p:cViewPr>
        <p:scale>
          <a:sx n="70" d="100"/>
          <a:sy n="70" d="100"/>
        </p:scale>
        <p:origin x="-1194" y="6"/>
      </p:cViewPr>
      <p:guideLst>
        <p:guide orient="horz" pos="2579"/>
        <p:guide orient="horz" pos="1317"/>
        <p:guide orient="horz" pos="3961"/>
        <p:guide pos="5459"/>
        <p:guide pos="29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53" d="100"/>
          <a:sy n="53" d="100"/>
        </p:scale>
        <p:origin x="-2892" y="-102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i="0"/>
            </a:lvl1pPr>
          </a:lstStyle>
          <a:p>
            <a:endParaRPr lang="en-US" altLang="zh-CN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i="0"/>
            </a:lvl1pPr>
          </a:lstStyle>
          <a:p>
            <a:endParaRPr lang="en-US" altLang="zh-CN"/>
          </a:p>
        </p:txBody>
      </p:sp>
      <p:sp>
        <p:nvSpPr>
          <p:cNvPr id="10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94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194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i="0"/>
            </a:lvl1pPr>
          </a:lstStyle>
          <a:p>
            <a:endParaRPr lang="en-US" altLang="zh-CN"/>
          </a:p>
        </p:txBody>
      </p:sp>
      <p:sp>
        <p:nvSpPr>
          <p:cNvPr id="194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i="0"/>
            </a:lvl1pPr>
          </a:lstStyle>
          <a:p>
            <a:fld id="{22DE94FA-0C2D-4711-8F21-DE56621C83CB}" type="slidenum">
              <a:rPr lang="en-US" altLang="zh-CN"/>
              <a:pPr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xmlns="" val="469410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华文细黑" pitchFamily="2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华文细黑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华文细黑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华文细黑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华文细黑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DE94FA-0C2D-4711-8F21-DE56621C83CB}" type="slidenum">
              <a:rPr lang="en-US" altLang="zh-CN" smtClean="0"/>
              <a:pPr/>
              <a:t>1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DE94FA-0C2D-4711-8F21-DE56621C83CB}" type="slidenum">
              <a:rPr lang="en-US" altLang="zh-CN" smtClean="0"/>
              <a:pPr/>
              <a:t>2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1pPr>
            <a:lvl2pPr marL="742950" indent="-285750" eaLnBrk="0" hangingPunct="0"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2pPr>
            <a:lvl3pPr marL="1143000" indent="-228600" eaLnBrk="0" hangingPunct="0"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3pPr>
            <a:lvl4pPr marL="1600200" indent="-228600" eaLnBrk="0" hangingPunct="0"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4pPr>
            <a:lvl5pPr marL="2057400" indent="-228600" eaLnBrk="0" hangingPunct="0"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i="1">
                <a:solidFill>
                  <a:schemeClr val="tx1"/>
                </a:solidFill>
                <a:latin typeface="Arial" charset="0"/>
                <a:ea typeface="华文细黑" pitchFamily="2" charset="-122"/>
              </a:defRPr>
            </a:lvl9pPr>
          </a:lstStyle>
          <a:p>
            <a:pPr algn="r" eaLnBrk="1" hangingPunct="1"/>
            <a:fld id="{3D78589A-42F5-4559-8AB2-951672E85BC2}" type="slidenum">
              <a:rPr lang="zh-CN" altLang="en-US" sz="1200" i="0"/>
              <a:pPr algn="r" eaLnBrk="1" hangingPunct="1"/>
              <a:t>19</a:t>
            </a:fld>
            <a:endParaRPr lang="en-US" altLang="zh-CN" sz="1200" i="0"/>
          </a:p>
        </p:txBody>
      </p:sp>
      <p:sp>
        <p:nvSpPr>
          <p:cNvPr id="136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7500" y="-12700"/>
            <a:ext cx="6224588" cy="4670425"/>
          </a:xfrm>
          <a:ln/>
        </p:spPr>
      </p:sp>
      <p:sp>
        <p:nvSpPr>
          <p:cNvPr id="136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7650" y="4883150"/>
            <a:ext cx="6432550" cy="3767138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84" tIns="44694" rIns="89384" bIns="44694"/>
          <a:lstStyle/>
          <a:p>
            <a:endParaRPr lang="en-GB" altLang="zh-CN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47" name="Picture 23" descr="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6646" name="Picture 22" descr="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36513" y="4495800"/>
            <a:ext cx="9180513" cy="2362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6626" name="Rectangle 27"/>
          <p:cNvSpPr>
            <a:spLocks noGrp="1" noChangeArrowheads="1"/>
          </p:cNvSpPr>
          <p:nvPr>
            <p:ph type="ctrTitle"/>
          </p:nvPr>
        </p:nvSpPr>
        <p:spPr>
          <a:xfrm>
            <a:off x="524933" y="4720721"/>
            <a:ext cx="8150755" cy="1079500"/>
          </a:xfrm>
          <a:prstGeom prst="rect">
            <a:avLst/>
          </a:prstGeom>
        </p:spPr>
        <p:txBody>
          <a:bodyPr/>
          <a:lstStyle>
            <a:lvl1pPr>
              <a:defRPr sz="3200" smtClean="0"/>
            </a:lvl1pPr>
          </a:lstStyle>
          <a:p>
            <a:pPr lvl="0"/>
            <a:r>
              <a:rPr lang="zh-CN" altLang="en-US" noProof="0" dirty="0" smtClean="0"/>
              <a:t>单击此处编辑母版标题样式</a:t>
            </a:r>
          </a:p>
        </p:txBody>
      </p:sp>
      <p:sp>
        <p:nvSpPr>
          <p:cNvPr id="26627" name="Rectangle 31"/>
          <p:cNvSpPr>
            <a:spLocks noGrp="1" noChangeArrowheads="1"/>
          </p:cNvSpPr>
          <p:nvPr>
            <p:ph type="subTitle" idx="1"/>
          </p:nvPr>
        </p:nvSpPr>
        <p:spPr>
          <a:xfrm>
            <a:off x="522538" y="5800221"/>
            <a:ext cx="8153151" cy="600075"/>
          </a:xfrm>
        </p:spPr>
        <p:txBody>
          <a:bodyPr/>
          <a:lstStyle>
            <a:lvl1pPr marL="0" indent="0" algn="r">
              <a:buFont typeface="Wingdings" pitchFamily="2" charset="2"/>
              <a:buNone/>
              <a:defRPr sz="1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zh-CN" altLang="en-US" noProof="0" smtClean="0"/>
              <a:t>单击添加署名或公司信息</a:t>
            </a:r>
          </a:p>
        </p:txBody>
      </p:sp>
    </p:spTree>
    <p:extLst>
      <p:ext uri="{BB962C8B-B14F-4D97-AF65-F5344CB8AC3E}">
        <p14:creationId xmlns:p14="http://schemas.microsoft.com/office/powerpoint/2010/main" xmlns="" val="301879616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40268" y="196850"/>
            <a:ext cx="7010399" cy="692150"/>
          </a:xfrm>
          <a:prstGeom prst="rect">
            <a:avLst/>
          </a:prstGeom>
        </p:spPr>
        <p:txBody>
          <a:bodyPr/>
          <a:lstStyle>
            <a:lvl1pPr algn="l">
              <a:defRPr sz="3200" b="0" cap="none" spc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68313" y="1125538"/>
            <a:ext cx="8207375" cy="5265214"/>
          </a:xfrm>
        </p:spPr>
        <p:txBody>
          <a:bodyPr/>
          <a:lstStyle>
            <a:lvl1pPr>
              <a:defRPr>
                <a:solidFill>
                  <a:srgbClr val="2A547E"/>
                </a:solidFill>
              </a:defRPr>
            </a:lvl1pPr>
            <a:lvl2pPr>
              <a:defRPr>
                <a:solidFill>
                  <a:srgbClr val="2A547E"/>
                </a:solidFill>
              </a:defRPr>
            </a:lvl2pPr>
            <a:lvl3pPr>
              <a:defRPr>
                <a:solidFill>
                  <a:srgbClr val="2A547E"/>
                </a:solidFill>
              </a:defRPr>
            </a:lvl3pPr>
            <a:lvl4pPr>
              <a:defRPr>
                <a:solidFill>
                  <a:srgbClr val="2A547E"/>
                </a:solidFill>
              </a:defRPr>
            </a:lvl4pPr>
            <a:lvl5pPr>
              <a:defRPr>
                <a:solidFill>
                  <a:srgbClr val="2A547E"/>
                </a:solidFill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789034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2" descr="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-36513" y="1"/>
            <a:ext cx="9180513" cy="901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051" name="Rectangle 3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207375" cy="5000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</p:txBody>
      </p:sp>
      <p:sp>
        <p:nvSpPr>
          <p:cNvPr id="2085" name="Line 37"/>
          <p:cNvSpPr>
            <a:spLocks noChangeShapeType="1"/>
          </p:cNvSpPr>
          <p:nvPr userDrawn="1"/>
        </p:nvSpPr>
        <p:spPr bwMode="auto">
          <a:xfrm>
            <a:off x="0" y="901700"/>
            <a:ext cx="9144000" cy="0"/>
          </a:xfrm>
          <a:prstGeom prst="line">
            <a:avLst/>
          </a:prstGeom>
          <a:noFill/>
          <a:ln w="31750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" name="标题占位符 2"/>
          <p:cNvSpPr>
            <a:spLocks noGrp="1"/>
          </p:cNvSpPr>
          <p:nvPr>
            <p:ph type="title"/>
          </p:nvPr>
        </p:nvSpPr>
        <p:spPr>
          <a:xfrm>
            <a:off x="457199" y="199978"/>
            <a:ext cx="7654465" cy="6842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0" r:id="rId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lang="zh-CN" altLang="en-US" sz="3200" b="0" cap="none" spc="0" dirty="0">
          <a:ln w="18415" cmpd="sng">
            <a:solidFill>
              <a:srgbClr val="FFFFFF"/>
            </a:solidFill>
            <a:prstDash val="solid"/>
          </a:ln>
          <a:solidFill>
            <a:srgbClr val="FFFFFF"/>
          </a:solidFill>
          <a:effectLst>
            <a:outerShdw blurRad="63500" dir="3600000" algn="tl" rotWithShape="0">
              <a:srgbClr val="000000">
                <a:alpha val="70000"/>
              </a:srgbClr>
            </a:outerShdw>
          </a:effectLst>
          <a:latin typeface="+mj-lt"/>
          <a:ea typeface="华文细黑" pitchFamily="2" charset="-122"/>
          <a:cs typeface="+mj-cs"/>
        </a:defRPr>
      </a:lvl1pPr>
      <a:lvl2pPr algn="r" rtl="0" fontAlgn="base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华文细黑" pitchFamily="2" charset="-122"/>
        </a:defRPr>
      </a:lvl2pPr>
      <a:lvl3pPr algn="r" rtl="0" fontAlgn="base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华文细黑" pitchFamily="2" charset="-122"/>
        </a:defRPr>
      </a:lvl3pPr>
      <a:lvl4pPr algn="r" rtl="0" fontAlgn="base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华文细黑" pitchFamily="2" charset="-122"/>
        </a:defRPr>
      </a:lvl4pPr>
      <a:lvl5pPr algn="r" rtl="0" fontAlgn="base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华文细黑" pitchFamily="2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黑体" pitchFamily="2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黑体" pitchFamily="2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黑体" pitchFamily="2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黑体" pitchFamily="2" charset="-122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n"/>
        <a:defRPr sz="2000">
          <a:solidFill>
            <a:srgbClr val="214365"/>
          </a:solidFill>
          <a:latin typeface="+mn-lt"/>
          <a:ea typeface="华文细黑" pitchFamily="2" charset="-122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n"/>
        <a:defRPr>
          <a:solidFill>
            <a:srgbClr val="214365"/>
          </a:solidFill>
          <a:latin typeface="+mn-lt"/>
          <a:ea typeface="华文细黑" pitchFamily="2" charset="-122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n"/>
        <a:defRPr sz="1600">
          <a:solidFill>
            <a:srgbClr val="214365"/>
          </a:solidFill>
          <a:latin typeface="+mn-lt"/>
          <a:ea typeface="华文细黑" pitchFamily="2" charset="-122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n"/>
        <a:defRPr sz="1400">
          <a:solidFill>
            <a:srgbClr val="214365"/>
          </a:solidFill>
          <a:latin typeface="+mn-lt"/>
          <a:ea typeface="华文细黑" pitchFamily="2" charset="-122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华文细黑" pitchFamily="2" charset="-122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bg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bg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bg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bg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192.168.50.2/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-30145" y="4801105"/>
            <a:ext cx="9174146" cy="1079500"/>
          </a:xfrm>
        </p:spPr>
        <p:txBody>
          <a:bodyPr>
            <a:normAutofit fontScale="90000"/>
          </a:bodyPr>
          <a:lstStyle/>
          <a:p>
            <a:pPr algn="ctr">
              <a:lnSpc>
                <a:spcPct val="120000"/>
              </a:lnSpc>
              <a:spcBef>
                <a:spcPts val="1200"/>
              </a:spcBef>
            </a:pPr>
            <a:r>
              <a:rPr lang="en-US" altLang="zh-CN" sz="27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2012</a:t>
            </a:r>
            <a:r>
              <a:rPr lang="zh-CN" altLang="en-US" sz="27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年青少年科学调查体验活动</a:t>
            </a:r>
            <a:r>
              <a:rPr lang="en-US" altLang="zh-CN" sz="27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/>
            </a:r>
            <a:br>
              <a:rPr lang="en-US" altLang="zh-CN" sz="27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</a:br>
            <a:r>
              <a:rPr lang="zh-CN" altLang="en-US" sz="4000" dirty="0" smtClean="0"/>
              <a:t>调查</a:t>
            </a:r>
            <a:r>
              <a:rPr lang="zh-CN" altLang="en-US" sz="4000" dirty="0"/>
              <a:t>数据在线</a:t>
            </a:r>
            <a:r>
              <a:rPr lang="zh-CN" altLang="en-US" sz="4000" dirty="0" smtClean="0"/>
              <a:t>提交与网站功能使用</a:t>
            </a:r>
            <a:endParaRPr lang="zh-CN" altLang="en-US" sz="40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482346" y="6071517"/>
            <a:ext cx="8153151" cy="422779"/>
          </a:xfrm>
        </p:spPr>
        <p:txBody>
          <a:bodyPr/>
          <a:lstStyle/>
          <a:p>
            <a:pPr algn="ctr"/>
            <a:r>
              <a:rPr lang="en-US" altLang="zh-CN" sz="2000" b="1" dirty="0" smtClean="0">
                <a:latin typeface="黑体" pitchFamily="49" charset="-122"/>
                <a:ea typeface="黑体" pitchFamily="49" charset="-122"/>
              </a:rPr>
              <a:t>2012</a:t>
            </a:r>
            <a:r>
              <a:rPr lang="zh-CN" altLang="en-US" sz="2000" b="1" dirty="0" smtClean="0">
                <a:latin typeface="黑体" pitchFamily="49" charset="-122"/>
                <a:ea typeface="黑体" pitchFamily="49" charset="-122"/>
              </a:rPr>
              <a:t>年</a:t>
            </a:r>
            <a:r>
              <a:rPr lang="en-US" altLang="zh-CN" sz="2000" b="1" dirty="0" smtClean="0">
                <a:latin typeface="黑体" pitchFamily="49" charset="-122"/>
                <a:ea typeface="黑体" pitchFamily="49" charset="-122"/>
              </a:rPr>
              <a:t>6</a:t>
            </a:r>
            <a:r>
              <a:rPr lang="zh-CN" altLang="en-US" sz="2000" b="1" dirty="0" smtClean="0">
                <a:latin typeface="黑体" pitchFamily="49" charset="-122"/>
                <a:ea typeface="黑体" pitchFamily="49" charset="-122"/>
              </a:rPr>
              <a:t>月</a:t>
            </a:r>
            <a:endParaRPr lang="zh-CN" altLang="en-US" sz="2000" b="1" dirty="0">
              <a:latin typeface="黑体" pitchFamily="49" charset="-122"/>
              <a:ea typeface="黑体" pitchFamily="49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175278" y="1124762"/>
            <a:ext cx="2810896" cy="2467525"/>
          </a:xfrm>
          <a:prstGeom prst="rect">
            <a:avLst/>
          </a:prstGeom>
          <a:effectLst>
            <a:glow rad="165100">
              <a:schemeClr val="bg1">
                <a:alpha val="31000"/>
              </a:schemeClr>
            </a:glow>
          </a:effec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疑难解答</a:t>
            </a:r>
            <a:endParaRPr lang="zh-CN" altLang="en-US" dirty="0"/>
          </a:p>
        </p:txBody>
      </p:sp>
      <p:grpSp>
        <p:nvGrpSpPr>
          <p:cNvPr id="3" name="组合 2"/>
          <p:cNvGrpSpPr/>
          <p:nvPr/>
        </p:nvGrpSpPr>
        <p:grpSpPr>
          <a:xfrm>
            <a:off x="542480" y="1411684"/>
            <a:ext cx="4324793" cy="1108965"/>
            <a:chOff x="593245" y="1290285"/>
            <a:chExt cx="7897611" cy="1210409"/>
          </a:xfrm>
        </p:grpSpPr>
        <p:sp>
          <p:nvSpPr>
            <p:cNvPr id="4" name="AutoShape 81"/>
            <p:cNvSpPr>
              <a:spLocks noChangeArrowheads="1"/>
            </p:cNvSpPr>
            <p:nvPr/>
          </p:nvSpPr>
          <p:spPr bwMode="auto">
            <a:xfrm>
              <a:off x="593245" y="1290285"/>
              <a:ext cx="7897611" cy="1210409"/>
            </a:xfrm>
            <a:prstGeom prst="roundRect">
              <a:avLst>
                <a:gd name="adj" fmla="val 145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artDeco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807802" y="1476059"/>
              <a:ext cx="7471301" cy="87286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>
              <a:defPPr>
                <a:defRPr lang="zh-CN"/>
              </a:defPPr>
              <a:lvl1pPr algn="ctr">
                <a:defRPr sz="2400" b="1" i="0" spc="5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defRPr>
              </a:lvl1pPr>
            </a:lstStyle>
            <a:p>
              <a:pPr algn="l">
                <a:lnSpc>
                  <a:spcPct val="120000"/>
                </a:lnSpc>
              </a:pPr>
              <a:r>
                <a:rPr lang="zh-CN" altLang="en-US" sz="2000" dirty="0" smtClean="0"/>
                <a:t>　　</a:t>
              </a:r>
              <a:r>
                <a:rPr lang="zh-CN" altLang="en-US" sz="2000" dirty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点击了“提交”按钮后，网页一直没有变化，该怎么办？</a:t>
              </a: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542482" y="2695979"/>
            <a:ext cx="4324793" cy="3494521"/>
            <a:chOff x="552658" y="1045748"/>
            <a:chExt cx="10557974" cy="1807875"/>
          </a:xfrm>
        </p:grpSpPr>
        <p:sp>
          <p:nvSpPr>
            <p:cNvPr id="7" name="AutoShap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white">
            <a:xfrm>
              <a:off x="552658" y="1045748"/>
              <a:ext cx="10557974" cy="1807875"/>
            </a:xfrm>
            <a:prstGeom prst="roundRect">
              <a:avLst>
                <a:gd name="adj" fmla="val 3145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0">
                    <a:schemeClr val="accent2">
                      <a:lumMod val="75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coolSlan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865643" y="1146727"/>
              <a:ext cx="9938649" cy="136809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just">
                <a:lnSpc>
                  <a:spcPct val="120000"/>
                </a:lnSpc>
              </a:pP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　　出现这种情况时，请首先检查页面，确认是否出现了红色的提示文字，指出填写的内容存在的问题或者错误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。</a:t>
              </a:r>
              <a:endParaRPr lang="en-US" altLang="zh-CN" sz="2000" b="1" i="0" spc="50" dirty="0" smtClean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  <a:p>
              <a:pPr algn="just">
                <a:lnSpc>
                  <a:spcPct val="120000"/>
                </a:lnSpc>
              </a:pP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　　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如果</a:t>
              </a: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确认页面中没有出现错误提示，则可能是当时网络速度较慢，请换时间段再次填写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。</a:t>
              </a:r>
              <a:endParaRPr lang="en-US" altLang="zh-CN" sz="2000" b="1" i="0" spc="50" dirty="0" smtClean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</p:grpSp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5455" r="11064"/>
          <a:stretch/>
        </p:blipFill>
        <p:spPr>
          <a:xfrm>
            <a:off x="5200650" y="1972413"/>
            <a:ext cx="3283293" cy="3687019"/>
          </a:xfrm>
          <a:prstGeom prst="rect">
            <a:avLst/>
          </a:prstGeom>
          <a:ln w="381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17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19646607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疑难解答</a:t>
            </a:r>
          </a:p>
        </p:txBody>
      </p:sp>
      <p:grpSp>
        <p:nvGrpSpPr>
          <p:cNvPr id="10" name="组合 9"/>
          <p:cNvGrpSpPr/>
          <p:nvPr/>
        </p:nvGrpSpPr>
        <p:grpSpPr>
          <a:xfrm>
            <a:off x="346394" y="1767675"/>
            <a:ext cx="4292869" cy="4080675"/>
            <a:chOff x="2127570" y="1677108"/>
            <a:chExt cx="4551204" cy="4326240"/>
          </a:xfrm>
        </p:grpSpPr>
        <p:pic>
          <p:nvPicPr>
            <p:cNvPr id="7" name="Picture 2" descr="E:\我的文档\Desktop\未标题-1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27570" y="1677108"/>
              <a:ext cx="4551204" cy="4326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图片 8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r="36135"/>
            <a:stretch/>
          </p:blipFill>
          <p:spPr>
            <a:xfrm>
              <a:off x="2209800" y="2024480"/>
              <a:ext cx="4314826" cy="3900070"/>
            </a:xfrm>
            <a:prstGeom prst="rect">
              <a:avLst/>
            </a:prstGeom>
          </p:spPr>
        </p:pic>
      </p:grpSp>
      <p:grpSp>
        <p:nvGrpSpPr>
          <p:cNvPr id="11" name="组合 10"/>
          <p:cNvGrpSpPr/>
          <p:nvPr/>
        </p:nvGrpSpPr>
        <p:grpSpPr>
          <a:xfrm>
            <a:off x="4895406" y="1460055"/>
            <a:ext cx="3762817" cy="1349818"/>
            <a:chOff x="593245" y="1290285"/>
            <a:chExt cx="7897611" cy="1473293"/>
          </a:xfrm>
        </p:grpSpPr>
        <p:sp>
          <p:nvSpPr>
            <p:cNvPr id="12" name="AutoShape 81"/>
            <p:cNvSpPr>
              <a:spLocks noChangeArrowheads="1"/>
            </p:cNvSpPr>
            <p:nvPr/>
          </p:nvSpPr>
          <p:spPr bwMode="auto">
            <a:xfrm>
              <a:off x="593245" y="1290285"/>
              <a:ext cx="7897611" cy="1473293"/>
            </a:xfrm>
            <a:prstGeom prst="roundRect">
              <a:avLst>
                <a:gd name="adj" fmla="val 145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artDeco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824770" y="1589365"/>
              <a:ext cx="7431317" cy="907013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>
              <a:defPPr>
                <a:defRPr lang="zh-CN"/>
              </a:defPPr>
              <a:lvl1pPr algn="ctr">
                <a:defRPr sz="2400" b="1" i="0" spc="5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defRPr>
              </a:lvl1pPr>
            </a:lstStyle>
            <a:p>
              <a:pPr algn="l">
                <a:lnSpc>
                  <a:spcPct val="120000"/>
                </a:lnSpc>
              </a:pPr>
              <a:r>
                <a:rPr lang="zh-CN" altLang="en-US" sz="2000" dirty="0" smtClean="0"/>
                <a:t>　　</a:t>
              </a:r>
              <a:r>
                <a:rPr lang="zh-CN" altLang="en-US" sz="2000" dirty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提交数据时，遇到了错误页面时该怎么办？</a:t>
              </a: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4895408" y="2963427"/>
            <a:ext cx="3762817" cy="3084949"/>
            <a:chOff x="552658" y="1045749"/>
            <a:chExt cx="10557974" cy="1595983"/>
          </a:xfrm>
        </p:grpSpPr>
        <p:sp>
          <p:nvSpPr>
            <p:cNvPr id="15" name="AutoShap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white">
            <a:xfrm>
              <a:off x="552658" y="1045749"/>
              <a:ext cx="10557974" cy="1595983"/>
            </a:xfrm>
            <a:prstGeom prst="roundRect">
              <a:avLst>
                <a:gd name="adj" fmla="val 3145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0">
                    <a:schemeClr val="accent2">
                      <a:lumMod val="75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coolSlan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835445" y="1112232"/>
              <a:ext cx="9988054" cy="1368089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just">
                <a:lnSpc>
                  <a:spcPct val="120000"/>
                </a:lnSpc>
              </a:pP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　　在某些特殊情况下，网站可能会出现错误。在这种情况下，用户不能继续提交数据，请及时发送邮件至</a:t>
              </a:r>
              <a:r>
                <a:rPr lang="en-US" altLang="zh-CN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dcty@xiaoxiaotong.org</a:t>
              </a: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，待收到问题解决的回复后再继续提交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。</a:t>
              </a:r>
              <a:endParaRPr lang="zh-CN" altLang="en-US" sz="2000" b="1" i="0" spc="50" dirty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2157199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2757141" y="2989711"/>
            <a:ext cx="4919793" cy="1265465"/>
          </a:xfrm>
          <a:prstGeom prst="roundRect">
            <a:avLst>
              <a:gd name="adj" fmla="val 9586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coolSlant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疑难解答</a:t>
            </a:r>
            <a:endParaRPr lang="zh-CN" alt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4297741" y="3286851"/>
            <a:ext cx="2997356" cy="633187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>
            <a:defPPr>
              <a:defRPr lang="zh-CN"/>
            </a:defPPr>
            <a:lvl1pPr algn="ctr">
              <a:defRPr sz="2400" b="1" i="0" spc="5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defRPr>
            </a:lvl1pPr>
          </a:lstStyle>
          <a:p>
            <a:pPr algn="l">
              <a:lnSpc>
                <a:spcPct val="120000"/>
              </a:lnSpc>
            </a:pPr>
            <a:r>
              <a:rPr lang="zh-CN" altLang="en-US" sz="3200" dirty="0" smtClean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微软雅黑" pitchFamily="34" charset="-122"/>
                <a:ea typeface="微软雅黑" pitchFamily="34" charset="-122"/>
              </a:rPr>
              <a:t>请您提出问题</a:t>
            </a:r>
            <a:endParaRPr lang="zh-CN" altLang="en-US" sz="3200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17" name="组合 16"/>
          <p:cNvGrpSpPr/>
          <p:nvPr/>
        </p:nvGrpSpPr>
        <p:grpSpPr>
          <a:xfrm>
            <a:off x="1687960" y="2348816"/>
            <a:ext cx="2214562" cy="2286000"/>
            <a:chOff x="1687960" y="2348816"/>
            <a:chExt cx="2214562" cy="2286000"/>
          </a:xfrm>
        </p:grpSpPr>
        <p:sp>
          <p:nvSpPr>
            <p:cNvPr id="6" name="云形 5">
              <a:hlinkClick r:id="" action="ppaction://hlinkshowjump?jump=lastslideviewed" highlightClick="1"/>
            </p:cNvPr>
            <p:cNvSpPr/>
            <p:nvPr/>
          </p:nvSpPr>
          <p:spPr bwMode="auto">
            <a:xfrm>
              <a:off x="1687960" y="2348816"/>
              <a:ext cx="2214562" cy="2286000"/>
            </a:xfrm>
            <a:prstGeom prst="cloud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95000"/>
                  </a:schemeClr>
                </a:gs>
              </a:gsLst>
              <a:lin ang="135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1270000" contourW="19050">
              <a:bevelT w="101600" prst="convex"/>
              <a:bevelB w="0" h="5080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tabLst>
                  <a:tab pos="136525" algn="l"/>
                </a:tabLst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908720" y="2522320"/>
              <a:ext cx="1696842" cy="1938992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"/>
              </a:scene3d>
              <a:sp3d extrusionH="57150" prstMaterial="softEdge">
                <a:bevelT w="133350"/>
              </a:sp3d>
            </a:bodyPr>
            <a:lstStyle/>
            <a:p>
              <a:r>
                <a:rPr lang="zh-CN" altLang="en-US" sz="12000" b="1" i="0" dirty="0" smtClean="0">
                  <a:gradFill flip="none" rotWithShape="1">
                    <a:gsLst>
                      <a:gs pos="11000">
                        <a:srgbClr val="FFC000"/>
                      </a:gs>
                      <a:gs pos="100000">
                        <a:srgbClr val="FD2703"/>
                      </a:gs>
                    </a:gsLst>
                    <a:lin ang="2700000" scaled="1"/>
                    <a:tileRect/>
                  </a:gra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微软雅黑" pitchFamily="34" charset="-122"/>
                  <a:ea typeface="微软雅黑" pitchFamily="34" charset="-122"/>
                  <a:cs typeface="Arial Unicode MS" pitchFamily="34" charset="-122"/>
                </a:rPr>
                <a:t>？</a:t>
              </a:r>
              <a:endParaRPr lang="zh-CN" altLang="en-US" sz="12000" b="1" i="0" dirty="0">
                <a:gradFill flip="none" rotWithShape="1">
                  <a:gsLst>
                    <a:gs pos="11000">
                      <a:srgbClr val="FFC000"/>
                    </a:gs>
                    <a:gs pos="100000">
                      <a:srgbClr val="FD2703"/>
                    </a:gs>
                  </a:gsLst>
                  <a:lin ang="2700000" scaled="1"/>
                  <a:tileRect/>
                </a:gra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微软雅黑" pitchFamily="34" charset="-122"/>
                <a:ea typeface="微软雅黑" pitchFamily="34" charset="-122"/>
                <a:cs typeface="Arial Unicode MS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6180459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咨询途径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753631" y="1601406"/>
            <a:ext cx="7666891" cy="4376313"/>
            <a:chOff x="828636" y="663923"/>
            <a:chExt cx="10122792" cy="4376313"/>
          </a:xfrm>
        </p:grpSpPr>
        <p:sp>
          <p:nvSpPr>
            <p:cNvPr id="4" name="AutoShap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white">
            <a:xfrm>
              <a:off x="828636" y="663923"/>
              <a:ext cx="10122792" cy="4376313"/>
            </a:xfrm>
            <a:prstGeom prst="roundRect">
              <a:avLst>
                <a:gd name="adj" fmla="val 4553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0">
                    <a:schemeClr val="accent2">
                      <a:lumMod val="75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coolSlan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1303713" y="825495"/>
              <a:ext cx="9276231" cy="2092881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>
                <a:lnSpc>
                  <a:spcPct val="150000"/>
                </a:lnSpc>
                <a:spcAft>
                  <a:spcPts val="1200"/>
                </a:spcAft>
              </a:pPr>
              <a:r>
                <a:rPr lang="zh-CN" altLang="en-US" sz="2000" b="1" i="0" spc="50" dirty="0" smtClean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活动</a:t>
              </a:r>
              <a:r>
                <a:rPr lang="zh-CN" altLang="en-US" sz="2000" b="1" i="0" spc="50" dirty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期间，在网上申报时发现问题或者需要帮助，请咨询：</a:t>
              </a:r>
            </a:p>
            <a:p>
              <a:pPr>
                <a:lnSpc>
                  <a:spcPct val="150000"/>
                </a:lnSpc>
              </a:pPr>
              <a:r>
                <a:rPr lang="zh-CN" altLang="en-US" sz="2000" b="1" i="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联  系  人</a:t>
              </a: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：王伟伟、石剑波</a:t>
              </a:r>
            </a:p>
            <a:p>
              <a:pPr>
                <a:lnSpc>
                  <a:spcPct val="150000"/>
                </a:lnSpc>
              </a:pP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联系</a:t>
              </a: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电话：</a:t>
              </a:r>
              <a:r>
                <a:rPr lang="en-US" altLang="zh-CN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010-59792520</a:t>
              </a:r>
            </a:p>
            <a:p>
              <a:pPr>
                <a:lnSpc>
                  <a:spcPct val="150000"/>
                </a:lnSpc>
              </a:pP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电子邮件</a:t>
              </a: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：</a:t>
              </a:r>
              <a:r>
                <a:rPr lang="en-US" altLang="zh-CN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dcty@xiaoxiaotong.org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。</a:t>
              </a:r>
              <a:endParaRPr lang="en-US" altLang="zh-CN" sz="2000" b="1" i="0" spc="50" dirty="0" smtClean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0544753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使用说明</a:t>
            </a:r>
            <a:endParaRPr lang="zh-CN" altLang="en-US" dirty="0"/>
          </a:p>
        </p:txBody>
      </p:sp>
      <p:grpSp>
        <p:nvGrpSpPr>
          <p:cNvPr id="3" name="组合 8"/>
          <p:cNvGrpSpPr/>
          <p:nvPr/>
        </p:nvGrpSpPr>
        <p:grpSpPr>
          <a:xfrm>
            <a:off x="753631" y="1751534"/>
            <a:ext cx="7666891" cy="3242497"/>
            <a:chOff x="828636" y="663923"/>
            <a:chExt cx="10122792" cy="3242497"/>
          </a:xfrm>
        </p:grpSpPr>
        <p:sp>
          <p:nvSpPr>
            <p:cNvPr id="4" name="AutoShap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white">
            <a:xfrm>
              <a:off x="828636" y="663923"/>
              <a:ext cx="10122792" cy="3242497"/>
            </a:xfrm>
            <a:prstGeom prst="roundRect">
              <a:avLst>
                <a:gd name="adj" fmla="val 4553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0">
                    <a:schemeClr val="accent2">
                      <a:lumMod val="75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coolSlan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1089919" y="1056232"/>
              <a:ext cx="6452828" cy="2400657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>
                <a:lnSpc>
                  <a:spcPct val="150000"/>
                </a:lnSpc>
                <a:spcAft>
                  <a:spcPts val="1200"/>
                </a:spcAft>
              </a:pPr>
              <a:r>
                <a:rPr lang="zh-CN" altLang="en-US" sz="2000" b="1" i="0" spc="50" dirty="0" smtClean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活动</a:t>
              </a:r>
              <a:r>
                <a:rPr lang="zh-CN" altLang="en-US" sz="2000" b="1" i="0" spc="50" dirty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期间</a:t>
              </a:r>
              <a:r>
                <a:rPr lang="zh-CN" altLang="en-US" sz="2000" b="1" i="0" spc="50" dirty="0" smtClean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，可到官方网站下载使用说明</a:t>
              </a:r>
              <a:r>
                <a:rPr lang="en-US" altLang="zh-CN" sz="2000" b="1" i="0" spc="50" dirty="0" smtClean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:</a:t>
              </a:r>
            </a:p>
            <a:p>
              <a:pPr>
                <a:lnSpc>
                  <a:spcPct val="150000"/>
                </a:lnSpc>
                <a:spcAft>
                  <a:spcPts val="1200"/>
                </a:spcAft>
              </a:pPr>
              <a:r>
                <a:rPr lang="zh-CN" altLang="en-US" sz="2000" b="1" i="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网址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：</a:t>
              </a:r>
              <a:r>
                <a:rPr lang="en-US" altLang="zh-CN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 </a:t>
              </a:r>
            </a:p>
            <a:p>
              <a:pPr algn="ctr">
                <a:lnSpc>
                  <a:spcPct val="150000"/>
                </a:lnSpc>
                <a:spcAft>
                  <a:spcPts val="1200"/>
                </a:spcAft>
              </a:pPr>
              <a:r>
                <a:rPr lang="en-US" altLang="zh-CN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http://www.scienceday.org.cn/ 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；</a:t>
              </a:r>
              <a:endParaRPr lang="en-US" altLang="zh-CN" sz="2000" b="1" i="0" spc="50" dirty="0" smtClean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  <a:p>
              <a:pPr>
                <a:lnSpc>
                  <a:spcPct val="150000"/>
                </a:lnSpc>
                <a:spcAft>
                  <a:spcPts val="1200"/>
                </a:spcAft>
              </a:pP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栏目：文件通知</a:t>
              </a:r>
              <a:r>
                <a:rPr lang="zh-CN" altLang="zh-CN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→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下载</a:t>
              </a:r>
              <a:endParaRPr lang="en-US" altLang="zh-CN" sz="2000" b="1" i="0" spc="50" dirty="0" smtClean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5886450" y="2333625"/>
            <a:ext cx="2181225" cy="962025"/>
            <a:chOff x="2818814" y="1618687"/>
            <a:chExt cx="1546443" cy="2491102"/>
          </a:xfrm>
        </p:grpSpPr>
        <p:sp>
          <p:nvSpPr>
            <p:cNvPr id="6" name="AutoShape 2"/>
            <p:cNvSpPr>
              <a:spLocks noChangeArrowheads="1"/>
            </p:cNvSpPr>
            <p:nvPr/>
          </p:nvSpPr>
          <p:spPr bwMode="auto">
            <a:xfrm>
              <a:off x="2818814" y="1618687"/>
              <a:ext cx="1546443" cy="2491102"/>
            </a:xfrm>
            <a:prstGeom prst="roundRect">
              <a:avLst>
                <a:gd name="adj" fmla="val 11741"/>
              </a:avLst>
            </a:prstGeom>
            <a:gradFill flip="none" rotWithShape="1">
              <a:gsLst>
                <a:gs pos="0">
                  <a:srgbClr val="6EFF01"/>
                </a:gs>
                <a:gs pos="90000">
                  <a:srgbClr val="0F5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>
              <a:bevelT prst="convex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tabLst>
                  <a:tab pos="723900" algn="l"/>
                  <a:tab pos="1447800" algn="l"/>
                  <a:tab pos="2171700" algn="l"/>
                  <a:tab pos="2895600" algn="l"/>
                  <a:tab pos="3619500" algn="l"/>
                  <a:tab pos="4343400" algn="l"/>
                  <a:tab pos="5067300" algn="l"/>
                  <a:tab pos="5791200" algn="l"/>
                  <a:tab pos="6515100" algn="l"/>
                  <a:tab pos="7239000" algn="l"/>
                </a:tabLst>
                <a:defRPr/>
              </a:pPr>
              <a:endParaRPr lang="en-US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905069" y="1984541"/>
              <a:ext cx="1373932" cy="16736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kumimoji="1" sz="1600" i="0">
                  <a:ln w="12700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微软雅黑" pitchFamily="34" charset="-122"/>
                  <a:ea typeface="微软雅黑" pitchFamily="34" charset="-122"/>
                </a:defRPr>
              </a:lvl1pPr>
            </a:lstStyle>
            <a:p>
              <a:r>
                <a:rPr lang="zh-CN" altLang="en-US" sz="2000" dirty="0" smtClean="0"/>
                <a:t>教师版</a:t>
              </a:r>
              <a:endParaRPr lang="en-US" altLang="zh-CN" sz="2000" dirty="0" smtClean="0"/>
            </a:p>
            <a:p>
              <a:r>
                <a:rPr lang="zh-CN" altLang="en-US" dirty="0" smtClean="0"/>
                <a:t>已经提供</a:t>
              </a:r>
              <a:endParaRPr lang="zh-CN" altLang="en-US" dirty="0"/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5876925" y="3429000"/>
            <a:ext cx="2181225" cy="962025"/>
            <a:chOff x="5981700" y="3324225"/>
            <a:chExt cx="2181225" cy="962025"/>
          </a:xfrm>
        </p:grpSpPr>
        <p:sp>
          <p:nvSpPr>
            <p:cNvPr id="13" name="AutoShape 2"/>
            <p:cNvSpPr>
              <a:spLocks noChangeArrowheads="1"/>
            </p:cNvSpPr>
            <p:nvPr/>
          </p:nvSpPr>
          <p:spPr bwMode="auto">
            <a:xfrm>
              <a:off x="5981700" y="3324225"/>
              <a:ext cx="2181225" cy="962025"/>
            </a:xfrm>
            <a:prstGeom prst="roundRect">
              <a:avLst>
                <a:gd name="adj" fmla="val 11741"/>
              </a:avLst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tabLst>
                  <a:tab pos="723900" algn="l"/>
                  <a:tab pos="1447800" algn="l"/>
                  <a:tab pos="2171700" algn="l"/>
                  <a:tab pos="2895600" algn="l"/>
                  <a:tab pos="3619500" algn="l"/>
                  <a:tab pos="4343400" algn="l"/>
                  <a:tab pos="5067300" algn="l"/>
                  <a:tab pos="5791200" algn="l"/>
                  <a:tab pos="6515100" algn="l"/>
                  <a:tab pos="7239000" algn="l"/>
                </a:tabLst>
                <a:defRPr/>
              </a:pPr>
              <a:endParaRPr lang="en-US" altLang="zh-CN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103361" y="3475037"/>
              <a:ext cx="1937902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kumimoji="1" sz="1600" i="0">
                  <a:ln w="12700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微软雅黑" pitchFamily="34" charset="-122"/>
                  <a:ea typeface="微软雅黑" pitchFamily="34" charset="-122"/>
                </a:defRPr>
              </a:lvl1pPr>
            </a:lstStyle>
            <a:p>
              <a:r>
                <a:rPr lang="zh-CN" altLang="en-US" sz="2000" dirty="0" smtClean="0"/>
                <a:t>学生版</a:t>
              </a:r>
              <a:endParaRPr lang="en-US" altLang="zh-CN" sz="2000" dirty="0" smtClean="0"/>
            </a:p>
            <a:p>
              <a:r>
                <a:rPr lang="zh-CN" altLang="en-US" dirty="0" smtClean="0"/>
                <a:t>即将提供</a:t>
              </a:r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10544753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活动手册下载</a:t>
            </a:r>
            <a:endParaRPr lang="zh-CN" altLang="en-US" dirty="0"/>
          </a:p>
        </p:txBody>
      </p:sp>
      <p:grpSp>
        <p:nvGrpSpPr>
          <p:cNvPr id="3" name="组合 8"/>
          <p:cNvGrpSpPr/>
          <p:nvPr/>
        </p:nvGrpSpPr>
        <p:grpSpPr>
          <a:xfrm>
            <a:off x="753631" y="1546814"/>
            <a:ext cx="7666891" cy="4594679"/>
            <a:chOff x="828636" y="663923"/>
            <a:chExt cx="10122792" cy="4594679"/>
          </a:xfrm>
        </p:grpSpPr>
        <p:sp>
          <p:nvSpPr>
            <p:cNvPr id="4" name="AutoShap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white">
            <a:xfrm>
              <a:off x="828636" y="663923"/>
              <a:ext cx="10122792" cy="4594679"/>
            </a:xfrm>
            <a:prstGeom prst="roundRect">
              <a:avLst>
                <a:gd name="adj" fmla="val 4553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0">
                    <a:schemeClr val="accent2">
                      <a:lumMod val="75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coolSlan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1198038" y="947048"/>
              <a:ext cx="9393196" cy="4247317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>
                <a:lnSpc>
                  <a:spcPct val="150000"/>
                </a:lnSpc>
                <a:spcAft>
                  <a:spcPts val="1200"/>
                </a:spcAft>
              </a:pPr>
              <a:r>
                <a:rPr lang="zh-CN" altLang="en-US" sz="2000" b="1" i="0" spc="50" dirty="0" smtClean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活动</a:t>
              </a:r>
              <a:r>
                <a:rPr lang="zh-CN" altLang="en-US" sz="2000" b="1" i="0" spc="50" dirty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期间</a:t>
              </a:r>
              <a:r>
                <a:rPr lang="zh-CN" altLang="en-US" sz="2000" b="1" i="0" spc="50" dirty="0" smtClean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，可到官方网站下载使用说明</a:t>
              </a:r>
              <a:r>
                <a:rPr lang="en-US" altLang="zh-CN" sz="2000" b="1" i="0" spc="50" dirty="0" smtClean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:</a:t>
              </a:r>
            </a:p>
            <a:p>
              <a:pPr>
                <a:lnSpc>
                  <a:spcPct val="150000"/>
                </a:lnSpc>
                <a:spcAft>
                  <a:spcPts val="1200"/>
                </a:spcAft>
              </a:pPr>
              <a:r>
                <a:rPr lang="zh-CN" altLang="en-US" sz="2000" b="1" i="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网址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：</a:t>
              </a:r>
              <a:r>
                <a:rPr lang="en-US" altLang="zh-CN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http://www.scienceday.org.cn/ 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；</a:t>
              </a:r>
              <a:endParaRPr lang="en-US" altLang="zh-CN" sz="2000" b="1" i="0" spc="50" dirty="0" smtClean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  <a:p>
              <a:pPr>
                <a:lnSpc>
                  <a:spcPct val="150000"/>
                </a:lnSpc>
                <a:spcAft>
                  <a:spcPts val="1200"/>
                </a:spcAft>
              </a:pP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栏目：文件通知</a:t>
              </a:r>
              <a:r>
                <a:rPr lang="zh-CN" altLang="zh-CN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→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下载</a:t>
              </a:r>
              <a:endParaRPr lang="en-US" altLang="zh-CN" sz="2000" b="1" i="0" spc="50" dirty="0" smtClean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  <a:p>
              <a:pPr>
                <a:lnSpc>
                  <a:spcPct val="150000"/>
                </a:lnSpc>
                <a:spcAft>
                  <a:spcPts val="1200"/>
                </a:spcAft>
              </a:pPr>
              <a:r>
                <a:rPr lang="zh-CN" altLang="en-US" sz="2000" b="1" i="0" spc="50" dirty="0" smtClean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修订内容：</a:t>
              </a:r>
              <a:endParaRPr lang="en-US" altLang="zh-CN" sz="2000" b="1" i="0" spc="50" dirty="0" smtClean="0">
                <a:ln w="11430"/>
                <a:solidFill>
                  <a:srgbClr val="C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  <a:p>
              <a:pPr>
                <a:lnSpc>
                  <a:spcPct val="150000"/>
                </a:lnSpc>
                <a:spcAft>
                  <a:spcPts val="1200"/>
                </a:spcAft>
              </a:pP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（</a:t>
              </a:r>
              <a:r>
                <a:rPr lang="en-US" altLang="zh-CN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1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）封二及</a:t>
              </a:r>
              <a:r>
                <a:rPr lang="en-US" altLang="zh-CN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P18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：膳食宝塔，补充运动、水、成人参考量；</a:t>
              </a:r>
              <a:endParaRPr lang="en-US" altLang="zh-CN" sz="2000" b="1" i="0" spc="50" dirty="0" smtClean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  <a:p>
              <a:pPr>
                <a:lnSpc>
                  <a:spcPct val="150000"/>
                </a:lnSpc>
                <a:spcAft>
                  <a:spcPts val="1200"/>
                </a:spcAft>
              </a:pP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（</a:t>
              </a:r>
              <a:r>
                <a:rPr lang="en-US" altLang="zh-CN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2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）</a:t>
              </a:r>
              <a:r>
                <a:rPr lang="en-US" altLang="zh-CN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P17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、</a:t>
              </a:r>
              <a:r>
                <a:rPr lang="en-US" altLang="zh-CN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P18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：明确“营养”和“食物”的区别；</a:t>
              </a:r>
              <a:endParaRPr lang="en-US" altLang="zh-CN" sz="2000" b="1" i="0" spc="50" dirty="0" smtClean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  <a:p>
              <a:pPr>
                <a:lnSpc>
                  <a:spcPct val="150000"/>
                </a:lnSpc>
                <a:spcAft>
                  <a:spcPts val="1200"/>
                </a:spcAft>
              </a:pP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（</a:t>
              </a:r>
              <a:r>
                <a:rPr lang="en-US" altLang="zh-CN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3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）</a:t>
              </a:r>
              <a:r>
                <a:rPr lang="en-US" altLang="zh-CN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P15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页：调整说法“没有营养、不建议食用”</a:t>
              </a:r>
              <a:endParaRPr lang="en-US" altLang="zh-CN" sz="2000" b="1" i="0" spc="50" dirty="0" smtClean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0544753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请您提出宝贵意见和建议</a:t>
            </a:r>
            <a:endParaRPr lang="zh-CN" altLang="en-US" dirty="0"/>
          </a:p>
        </p:txBody>
      </p:sp>
      <p:grpSp>
        <p:nvGrpSpPr>
          <p:cNvPr id="8" name="组合 7"/>
          <p:cNvGrpSpPr/>
          <p:nvPr/>
        </p:nvGrpSpPr>
        <p:grpSpPr>
          <a:xfrm>
            <a:off x="532957" y="1290286"/>
            <a:ext cx="8128724" cy="930400"/>
            <a:chOff x="593245" y="1290286"/>
            <a:chExt cx="7897611" cy="930400"/>
          </a:xfrm>
        </p:grpSpPr>
        <p:sp>
          <p:nvSpPr>
            <p:cNvPr id="7" name="AutoShape 81"/>
            <p:cNvSpPr>
              <a:spLocks noChangeArrowheads="1"/>
            </p:cNvSpPr>
            <p:nvPr/>
          </p:nvSpPr>
          <p:spPr bwMode="auto">
            <a:xfrm>
              <a:off x="593245" y="1290286"/>
              <a:ext cx="7897611" cy="930400"/>
            </a:xfrm>
            <a:prstGeom prst="roundRect">
              <a:avLst>
                <a:gd name="adj" fmla="val 5005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artDeco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643093" y="1349497"/>
              <a:ext cx="7817619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>
              <a:defPPr>
                <a:defRPr lang="zh-CN"/>
              </a:defPPr>
              <a:lvl1pPr algn="ctr">
                <a:defRPr sz="2400" b="1" i="0" spc="5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defRPr>
              </a:lvl1pPr>
            </a:lstStyle>
            <a:p>
              <a:pPr>
                <a:lnSpc>
                  <a:spcPct val="120000"/>
                </a:lnSpc>
              </a:pPr>
              <a:r>
                <a:rPr lang="zh-CN" altLang="en-US" sz="2000" dirty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以下内容也包括在在会后的调查问卷中</a:t>
              </a:r>
              <a:r>
                <a:rPr lang="zh-CN" altLang="en-US" sz="2000" dirty="0" smtClean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，您</a:t>
              </a:r>
              <a:r>
                <a:rPr lang="zh-CN" altLang="en-US" sz="2000" dirty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可以在问卷中反馈意见。</a:t>
              </a:r>
              <a:endParaRPr lang="en-US" altLang="zh-CN" sz="2000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>
                <a:lnSpc>
                  <a:spcPct val="120000"/>
                </a:lnSpc>
              </a:pPr>
              <a:r>
                <a:rPr lang="zh-CN" altLang="en-US" sz="2000" dirty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您提出的各项意见和建议，我们都会认真考虑。</a:t>
              </a: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532958" y="2553850"/>
            <a:ext cx="8128724" cy="3657599"/>
            <a:chOff x="552658" y="1045747"/>
            <a:chExt cx="10557974" cy="4086571"/>
          </a:xfrm>
        </p:grpSpPr>
        <p:sp>
          <p:nvSpPr>
            <p:cNvPr id="10" name="AutoShap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white">
            <a:xfrm>
              <a:off x="552658" y="1045747"/>
              <a:ext cx="10557974" cy="4086571"/>
            </a:xfrm>
            <a:prstGeom prst="roundRect">
              <a:avLst>
                <a:gd name="adj" fmla="val 2440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0">
                    <a:schemeClr val="accent2">
                      <a:lumMod val="75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coolSlan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504889" y="1355609"/>
              <a:ext cx="9423020" cy="928458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2000" b="1" i="0" spc="50" dirty="0" smtClean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站</a:t>
              </a:r>
              <a:r>
                <a:rPr lang="zh-CN" altLang="en-US" sz="2000" b="1" i="0" spc="50" dirty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在学生的角度，您认为网上提交数据时，学生会遇到什么样的困难？教师需要给学生什么样的帮助？</a:t>
              </a:r>
            </a:p>
          </p:txBody>
        </p:sp>
      </p:grpSp>
      <p:sp>
        <p:nvSpPr>
          <p:cNvPr id="14" name="圆角矩形 13"/>
          <p:cNvSpPr/>
          <p:nvPr/>
        </p:nvSpPr>
        <p:spPr bwMode="auto">
          <a:xfrm>
            <a:off x="806387" y="2958606"/>
            <a:ext cx="450181" cy="455846"/>
          </a:xfrm>
          <a:prstGeom prst="roundRect">
            <a:avLst>
              <a:gd name="adj" fmla="val 20156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2000" i="0" dirty="0" smtClean="0">
                <a:ln w="3175" cmpd="sng">
                  <a:solidFill>
                    <a:schemeClr val="bg1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rPr>
              <a:t>１</a:t>
            </a:r>
            <a:endParaRPr lang="zh-CN" altLang="en-US" sz="2000" i="0" dirty="0">
              <a:ln w="317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894203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请您提出宝贵意见和建议</a:t>
            </a:r>
            <a:endParaRPr lang="zh-CN" altLang="en-US" dirty="0"/>
          </a:p>
        </p:txBody>
      </p:sp>
      <p:grpSp>
        <p:nvGrpSpPr>
          <p:cNvPr id="8" name="组合 7"/>
          <p:cNvGrpSpPr/>
          <p:nvPr/>
        </p:nvGrpSpPr>
        <p:grpSpPr>
          <a:xfrm>
            <a:off x="532957" y="1290286"/>
            <a:ext cx="8128724" cy="930400"/>
            <a:chOff x="593245" y="1290286"/>
            <a:chExt cx="7897611" cy="930400"/>
          </a:xfrm>
        </p:grpSpPr>
        <p:sp>
          <p:nvSpPr>
            <p:cNvPr id="7" name="AutoShape 81"/>
            <p:cNvSpPr>
              <a:spLocks noChangeArrowheads="1"/>
            </p:cNvSpPr>
            <p:nvPr/>
          </p:nvSpPr>
          <p:spPr bwMode="auto">
            <a:xfrm>
              <a:off x="593245" y="1290286"/>
              <a:ext cx="7897611" cy="930400"/>
            </a:xfrm>
            <a:prstGeom prst="roundRect">
              <a:avLst>
                <a:gd name="adj" fmla="val 5005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artDeco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643093" y="1349497"/>
              <a:ext cx="7817619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>
              <a:defPPr>
                <a:defRPr lang="zh-CN"/>
              </a:defPPr>
              <a:lvl1pPr algn="ctr">
                <a:defRPr sz="2400" b="1" i="0" spc="5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defRPr>
              </a:lvl1pPr>
            </a:lstStyle>
            <a:p>
              <a:pPr>
                <a:lnSpc>
                  <a:spcPct val="120000"/>
                </a:lnSpc>
              </a:pPr>
              <a:r>
                <a:rPr lang="zh-CN" altLang="en-US" sz="2000" dirty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以下内容也包括在在会后的调查问卷中</a:t>
              </a:r>
              <a:r>
                <a:rPr lang="zh-CN" altLang="en-US" sz="2000" dirty="0" smtClean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，您</a:t>
              </a:r>
              <a:r>
                <a:rPr lang="zh-CN" altLang="en-US" sz="2000" dirty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可以在问卷中反馈意见。</a:t>
              </a:r>
              <a:endParaRPr lang="en-US" altLang="zh-CN" sz="2000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>
                <a:lnSpc>
                  <a:spcPct val="120000"/>
                </a:lnSpc>
              </a:pPr>
              <a:r>
                <a:rPr lang="zh-CN" altLang="en-US" sz="2000" dirty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您提出的各项意见和建议，我们都会认真考虑。</a:t>
              </a: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532958" y="2553850"/>
            <a:ext cx="8128724" cy="3657599"/>
            <a:chOff x="552658" y="1045747"/>
            <a:chExt cx="10557974" cy="4086571"/>
          </a:xfrm>
        </p:grpSpPr>
        <p:sp>
          <p:nvSpPr>
            <p:cNvPr id="10" name="AutoShap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white">
            <a:xfrm>
              <a:off x="552658" y="1045747"/>
              <a:ext cx="10557974" cy="4086571"/>
            </a:xfrm>
            <a:prstGeom prst="roundRect">
              <a:avLst>
                <a:gd name="adj" fmla="val 2440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0">
                    <a:schemeClr val="accent2">
                      <a:lumMod val="75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coolSlan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835444" y="1355609"/>
              <a:ext cx="9988055" cy="2991698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　　</a:t>
              </a:r>
              <a:r>
                <a:rPr lang="zh-CN" altLang="en-US" sz="2000" b="1" i="0" spc="50" dirty="0" smtClean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您</a:t>
              </a:r>
              <a:r>
                <a:rPr lang="zh-CN" altLang="en-US" sz="2000" b="1" i="0" spc="50" dirty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认为如果不对学生进行培训，学生能否通过网络提交数据？</a:t>
              </a:r>
            </a:p>
            <a:p>
              <a:pPr>
                <a:lnSpc>
                  <a:spcPct val="120000"/>
                </a:lnSpc>
              </a:pP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　　□可以　　□</a:t>
              </a: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有困难</a:t>
              </a:r>
            </a:p>
            <a:p>
              <a:pPr>
                <a:lnSpc>
                  <a:spcPct val="120000"/>
                </a:lnSpc>
              </a:pP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　　</a:t>
              </a:r>
              <a:r>
                <a:rPr lang="zh-CN" altLang="en-US" sz="2000" b="1" i="0" spc="50" dirty="0" smtClean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请</a:t>
              </a:r>
              <a:r>
                <a:rPr lang="zh-CN" altLang="en-US" sz="2000" b="1" i="0" spc="50" dirty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勾选您认为学生可能遇到困难的地方：</a:t>
              </a:r>
            </a:p>
            <a:p>
              <a:pPr>
                <a:lnSpc>
                  <a:spcPct val="120000"/>
                </a:lnSpc>
              </a:pP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　　□</a:t>
              </a: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注册账号　　□找回密码　　□填写我的信息　　      </a:t>
              </a:r>
            </a:p>
            <a:p>
              <a:pPr>
                <a:lnSpc>
                  <a:spcPct val="120000"/>
                </a:lnSpc>
              </a:pP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　　□</a:t>
              </a: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填写早餐调查     □填写家庭调查　　□填写调查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问卷</a:t>
              </a:r>
              <a:endParaRPr lang="en-US" altLang="zh-CN" sz="2000" b="1" i="0" spc="50" dirty="0" smtClean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  <a:p>
              <a:pPr>
                <a:lnSpc>
                  <a:spcPct val="120000"/>
                </a:lnSpc>
              </a:pP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　　□其他</a:t>
              </a:r>
            </a:p>
            <a:p>
              <a:pPr>
                <a:lnSpc>
                  <a:spcPct val="120000"/>
                </a:lnSpc>
              </a:pP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　　</a:t>
              </a:r>
              <a:r>
                <a:rPr lang="zh-CN" altLang="en-US" sz="2000" b="1" i="0" spc="50" dirty="0" smtClean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请</a:t>
              </a:r>
              <a:r>
                <a:rPr lang="zh-CN" altLang="en-US" sz="2000" b="1" i="0" spc="50" dirty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简要说明存在的</a:t>
              </a:r>
              <a:r>
                <a:rPr lang="zh-CN" altLang="en-US" sz="2000" b="1" i="0" spc="50" dirty="0" smtClean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问题</a:t>
              </a:r>
              <a:r>
                <a:rPr lang="zh-CN" altLang="en-US" sz="2000" b="1" i="0" spc="50" dirty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：</a:t>
              </a:r>
            </a:p>
          </p:txBody>
        </p:sp>
      </p:grpSp>
      <p:sp>
        <p:nvSpPr>
          <p:cNvPr id="14" name="圆角矩形 13"/>
          <p:cNvSpPr/>
          <p:nvPr/>
        </p:nvSpPr>
        <p:spPr bwMode="auto">
          <a:xfrm>
            <a:off x="806910" y="2910981"/>
            <a:ext cx="450181" cy="455846"/>
          </a:xfrm>
          <a:prstGeom prst="roundRect">
            <a:avLst>
              <a:gd name="adj" fmla="val 20156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2000" i="0" dirty="0" smtClean="0">
                <a:ln w="3175" cmpd="sng">
                  <a:solidFill>
                    <a:schemeClr val="bg1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rPr>
              <a:t>２</a:t>
            </a:r>
            <a:endParaRPr lang="zh-CN" altLang="en-US" sz="2000" i="0" dirty="0">
              <a:ln w="317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305813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请您提出宝贵意见和建议</a:t>
            </a:r>
            <a:endParaRPr lang="zh-CN" altLang="en-US" dirty="0"/>
          </a:p>
        </p:txBody>
      </p:sp>
      <p:grpSp>
        <p:nvGrpSpPr>
          <p:cNvPr id="8" name="组合 7"/>
          <p:cNvGrpSpPr/>
          <p:nvPr/>
        </p:nvGrpSpPr>
        <p:grpSpPr>
          <a:xfrm>
            <a:off x="532957" y="1290286"/>
            <a:ext cx="8128724" cy="930400"/>
            <a:chOff x="593245" y="1290286"/>
            <a:chExt cx="7897611" cy="930400"/>
          </a:xfrm>
        </p:grpSpPr>
        <p:sp>
          <p:nvSpPr>
            <p:cNvPr id="7" name="AutoShape 81"/>
            <p:cNvSpPr>
              <a:spLocks noChangeArrowheads="1"/>
            </p:cNvSpPr>
            <p:nvPr/>
          </p:nvSpPr>
          <p:spPr bwMode="auto">
            <a:xfrm>
              <a:off x="593245" y="1290286"/>
              <a:ext cx="7897611" cy="930400"/>
            </a:xfrm>
            <a:prstGeom prst="roundRect">
              <a:avLst>
                <a:gd name="adj" fmla="val 5005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artDeco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643093" y="1349497"/>
              <a:ext cx="7817619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>
              <a:defPPr>
                <a:defRPr lang="zh-CN"/>
              </a:defPPr>
              <a:lvl1pPr algn="ctr">
                <a:defRPr sz="2400" b="1" i="0" spc="5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defRPr>
              </a:lvl1pPr>
            </a:lstStyle>
            <a:p>
              <a:pPr>
                <a:lnSpc>
                  <a:spcPct val="120000"/>
                </a:lnSpc>
              </a:pPr>
              <a:r>
                <a:rPr lang="zh-CN" altLang="en-US" sz="2000" dirty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以下内容也包括在在会后的调查问卷中</a:t>
              </a:r>
              <a:r>
                <a:rPr lang="zh-CN" altLang="en-US" sz="2000" dirty="0" smtClean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，您</a:t>
              </a:r>
              <a:r>
                <a:rPr lang="zh-CN" altLang="en-US" sz="2000" dirty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可以在问卷中反馈意见。</a:t>
              </a:r>
              <a:endParaRPr lang="en-US" altLang="zh-CN" sz="2000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  <a:p>
              <a:pPr>
                <a:lnSpc>
                  <a:spcPct val="120000"/>
                </a:lnSpc>
              </a:pPr>
              <a:r>
                <a:rPr lang="zh-CN" altLang="en-US" sz="2000" dirty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a:rPr>
                <a:t>您提出的各项意见和建议，我们都会认真考虑。</a:t>
              </a: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532958" y="2553850"/>
            <a:ext cx="8128724" cy="3657599"/>
            <a:chOff x="552658" y="1045747"/>
            <a:chExt cx="10557974" cy="4086571"/>
          </a:xfrm>
        </p:grpSpPr>
        <p:sp>
          <p:nvSpPr>
            <p:cNvPr id="10" name="AutoShap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white">
            <a:xfrm>
              <a:off x="552658" y="1045747"/>
              <a:ext cx="10557974" cy="4086571"/>
            </a:xfrm>
            <a:prstGeom prst="roundRect">
              <a:avLst>
                <a:gd name="adj" fmla="val 2440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0">
                    <a:schemeClr val="accent2">
                      <a:lumMod val="75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coolSlan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493196" y="1355609"/>
              <a:ext cx="9330303" cy="2166402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2000" b="1" i="0" spc="50" dirty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从整体来看，您认为现有的网上提交系统是否达到了实际应用的水平？</a:t>
              </a:r>
            </a:p>
            <a:p>
              <a:pPr>
                <a:lnSpc>
                  <a:spcPct val="120000"/>
                </a:lnSpc>
              </a:pP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□还需修改完善，不能实际应用</a:t>
              </a:r>
            </a:p>
            <a:p>
              <a:pPr>
                <a:lnSpc>
                  <a:spcPct val="120000"/>
                </a:lnSpc>
              </a:pP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□基本满足实际应用需要</a:t>
              </a:r>
            </a:p>
            <a:p>
              <a:pPr>
                <a:lnSpc>
                  <a:spcPct val="120000"/>
                </a:lnSpc>
              </a:pP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□较好地满足了实际应用需要</a:t>
              </a:r>
            </a:p>
          </p:txBody>
        </p:sp>
      </p:grpSp>
      <p:sp>
        <p:nvSpPr>
          <p:cNvPr id="14" name="圆角矩形 13"/>
          <p:cNvSpPr/>
          <p:nvPr/>
        </p:nvSpPr>
        <p:spPr bwMode="auto">
          <a:xfrm>
            <a:off x="787860" y="2939556"/>
            <a:ext cx="450181" cy="455846"/>
          </a:xfrm>
          <a:prstGeom prst="roundRect">
            <a:avLst>
              <a:gd name="adj" fmla="val 20156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2000" i="0" dirty="0" smtClean="0">
                <a:ln w="3175" cmpd="sng">
                  <a:solidFill>
                    <a:schemeClr val="bg1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rPr>
              <a:t>３</a:t>
            </a:r>
            <a:endParaRPr lang="zh-CN" altLang="en-US" sz="2000" i="0" dirty="0">
              <a:ln w="3175" cmpd="sng">
                <a:solidFill>
                  <a:schemeClr val="bg1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928219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1" name="Rectangle 3"/>
          <p:cNvSpPr>
            <a:spLocks noChangeArrowheads="1"/>
          </p:cNvSpPr>
          <p:nvPr/>
        </p:nvSpPr>
        <p:spPr bwMode="auto">
          <a:xfrm>
            <a:off x="438169" y="5084455"/>
            <a:ext cx="8207375" cy="111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/>
          <a:p>
            <a:pPr algn="ctr">
              <a:lnSpc>
                <a:spcPct val="120000"/>
              </a:lnSpc>
              <a:spcBef>
                <a:spcPct val="20000"/>
              </a:spcBef>
            </a:pPr>
            <a:r>
              <a:rPr lang="zh-CN" altLang="en-US" sz="6000" i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谢谢大家</a:t>
            </a:r>
            <a:r>
              <a:rPr lang="zh-CN" altLang="en-US" sz="6000" i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！</a:t>
            </a:r>
            <a:endParaRPr lang="zh-CN" altLang="en-US" sz="6000" i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175278" y="1124762"/>
            <a:ext cx="2810896" cy="2467525"/>
          </a:xfrm>
          <a:prstGeom prst="rect">
            <a:avLst/>
          </a:prstGeom>
          <a:effectLst>
            <a:glow rad="165100">
              <a:schemeClr val="bg1">
                <a:alpha val="31000"/>
              </a:schemeClr>
            </a:glow>
          </a:effectLst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简要说明</a:t>
            </a:r>
            <a:endParaRPr lang="zh-CN" altLang="en-US" dirty="0"/>
          </a:p>
        </p:txBody>
      </p:sp>
      <p:grpSp>
        <p:nvGrpSpPr>
          <p:cNvPr id="5" name="组合 4"/>
          <p:cNvGrpSpPr/>
          <p:nvPr/>
        </p:nvGrpSpPr>
        <p:grpSpPr>
          <a:xfrm>
            <a:off x="489270" y="1677108"/>
            <a:ext cx="4551204" cy="4326240"/>
            <a:chOff x="428362" y="1446962"/>
            <a:chExt cx="4973152" cy="4727331"/>
          </a:xfrm>
        </p:grpSpPr>
        <p:grpSp>
          <p:nvGrpSpPr>
            <p:cNvPr id="3" name="组合 2"/>
            <p:cNvGrpSpPr/>
            <p:nvPr/>
          </p:nvGrpSpPr>
          <p:grpSpPr>
            <a:xfrm>
              <a:off x="428362" y="1446962"/>
              <a:ext cx="4973152" cy="4727331"/>
              <a:chOff x="428362" y="1446962"/>
              <a:chExt cx="4973152" cy="4727331"/>
            </a:xfrm>
            <a:effectLst>
              <a:reflection blurRad="6350" stA="19000" endPos="35000" dir="5400000" sy="-100000" algn="bl" rotWithShape="0"/>
            </a:effectLst>
          </p:grpSpPr>
          <p:pic>
            <p:nvPicPr>
              <p:cNvPr id="1026" name="Picture 2" descr="E:\我的文档\Desktop\未标题-1.png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8362" y="1446962"/>
                <a:ext cx="4973152" cy="472733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27" name="Picture 3" descr="E:\我的文档\Desktop\未标题-3.png"/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b="28980"/>
              <a:stretch/>
            </p:blipFill>
            <p:spPr bwMode="auto">
              <a:xfrm>
                <a:off x="497315" y="1728321"/>
                <a:ext cx="4762662" cy="43660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" name="TextBox 3"/>
            <p:cNvSpPr txBox="1"/>
            <p:nvPr/>
          </p:nvSpPr>
          <p:spPr>
            <a:xfrm>
              <a:off x="1286192" y="1547448"/>
              <a:ext cx="2793442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700" i="0" dirty="0"/>
                <a:t>http://www.scienceday.org.cn/</a:t>
              </a:r>
              <a:endParaRPr lang="zh-CN" altLang="en-US" sz="700" i="0" dirty="0"/>
            </a:p>
          </p:txBody>
        </p:sp>
      </p:grpSp>
      <p:grpSp>
        <p:nvGrpSpPr>
          <p:cNvPr id="8" name="组合 26"/>
          <p:cNvGrpSpPr>
            <a:grpSpLocks noChangeAspect="1"/>
          </p:cNvGrpSpPr>
          <p:nvPr/>
        </p:nvGrpSpPr>
        <p:grpSpPr bwMode="auto">
          <a:xfrm>
            <a:off x="5214518" y="3114984"/>
            <a:ext cx="3608366" cy="672756"/>
            <a:chOff x="1321939" y="2463785"/>
            <a:chExt cx="415318" cy="2705673"/>
          </a:xfrm>
        </p:grpSpPr>
        <p:sp>
          <p:nvSpPr>
            <p:cNvPr id="9" name="圆角矩形 8"/>
            <p:cNvSpPr/>
            <p:nvPr/>
          </p:nvSpPr>
          <p:spPr>
            <a:xfrm>
              <a:off x="1321939" y="2463785"/>
              <a:ext cx="415318" cy="2705673"/>
            </a:xfrm>
            <a:prstGeom prst="roundRect">
              <a:avLst>
                <a:gd name="adj" fmla="val 10568"/>
              </a:avLst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dirty="0">
                <a:solidFill>
                  <a:schemeClr val="bg1"/>
                </a:solidFill>
                <a:effectLst>
                  <a:reflection blurRad="6350" stA="50000" endA="300" endPos="50000" dist="29997" dir="5400000" sy="-100000" algn="bl" rotWithShape="0"/>
                </a:effectLst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" name="矩形 14"/>
            <p:cNvSpPr>
              <a:spLocks noChangeArrowheads="1"/>
            </p:cNvSpPr>
            <p:nvPr/>
          </p:nvSpPr>
          <p:spPr bwMode="auto">
            <a:xfrm>
              <a:off x="1329654" y="3254524"/>
              <a:ext cx="399887" cy="11241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zh-CN" altLang="en-US" sz="1600" i="0" dirty="0">
                  <a:ln w="12700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青少年科学调查体验</a:t>
              </a:r>
              <a:r>
                <a:rPr kumimoji="1" lang="zh-CN" altLang="en-US" sz="1600" i="0" dirty="0" smtClean="0">
                  <a:ln w="12700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活动官方</a:t>
              </a:r>
              <a:r>
                <a:rPr kumimoji="1" lang="zh-CN" altLang="en-US" sz="1600" i="0" dirty="0">
                  <a:ln w="12700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网站</a:t>
              </a: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5214518" y="3990948"/>
            <a:ext cx="3608366" cy="579697"/>
            <a:chOff x="552659" y="1045748"/>
            <a:chExt cx="5278986" cy="694798"/>
          </a:xfrm>
        </p:grpSpPr>
        <p:sp>
          <p:nvSpPr>
            <p:cNvPr id="12" name="AutoShap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white">
            <a:xfrm>
              <a:off x="552659" y="1045748"/>
              <a:ext cx="5278986" cy="694798"/>
            </a:xfrm>
            <a:prstGeom prst="roundRect">
              <a:avLst>
                <a:gd name="adj" fmla="val 11486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0">
                    <a:schemeClr val="accent2">
                      <a:lumMod val="75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coolSlan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6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54947" y="1184596"/>
              <a:ext cx="5176696" cy="40577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en-US" altLang="zh-CN" sz="16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http://www.scienceday.org.cn/</a:t>
              </a:r>
              <a:endParaRPr lang="zh-CN" altLang="en-US" sz="1600" b="1" i="0" spc="50" dirty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</p:grpSp>
      <p:pic>
        <p:nvPicPr>
          <p:cNvPr id="14" name="图片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128422" y="1487606"/>
            <a:ext cx="1604666" cy="1408645"/>
          </a:xfrm>
          <a:prstGeom prst="rect">
            <a:avLst/>
          </a:prstGeom>
          <a:effectLst>
            <a:glow rad="165100">
              <a:schemeClr val="bg1">
                <a:alpha val="31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xmlns="" val="14339303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整体结构</a:t>
            </a:r>
          </a:p>
        </p:txBody>
      </p:sp>
      <p:sp>
        <p:nvSpPr>
          <p:cNvPr id="4" name="Rectangle 17"/>
          <p:cNvSpPr>
            <a:spLocks noChangeArrowheads="1"/>
          </p:cNvSpPr>
          <p:nvPr/>
        </p:nvSpPr>
        <p:spPr bwMode="gray">
          <a:xfrm>
            <a:off x="2552283" y="1436927"/>
            <a:ext cx="3627453" cy="4149969"/>
          </a:xfrm>
          <a:prstGeom prst="roundRect">
            <a:avLst>
              <a:gd name="adj" fmla="val 7567"/>
            </a:avLst>
          </a:prstGeom>
          <a:noFill/>
          <a:ln w="25400">
            <a:solidFill>
              <a:schemeClr val="tx1">
                <a:lumMod val="50000"/>
                <a:lumOff val="50000"/>
              </a:schemeClr>
            </a:solidFill>
            <a:prstDash val="sysDash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16" name="组合 15"/>
          <p:cNvGrpSpPr/>
          <p:nvPr/>
        </p:nvGrpSpPr>
        <p:grpSpPr>
          <a:xfrm>
            <a:off x="7003706" y="2217887"/>
            <a:ext cx="1296216" cy="2009653"/>
            <a:chOff x="1743382" y="2620426"/>
            <a:chExt cx="1440000" cy="2232576"/>
          </a:xfrm>
        </p:grpSpPr>
        <p:sp>
          <p:nvSpPr>
            <p:cNvPr id="9" name="Oval 93"/>
            <p:cNvSpPr>
              <a:spLocks noChangeArrowheads="1"/>
            </p:cNvSpPr>
            <p:nvPr/>
          </p:nvSpPr>
          <p:spPr bwMode="auto">
            <a:xfrm>
              <a:off x="1743382" y="3701546"/>
              <a:ext cx="1440000" cy="1151456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90000">
                  <a:schemeClr val="bg1">
                    <a:lumMod val="50000"/>
                  </a:schemeClr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perspectiveRelaxed" fov="1800000"/>
              <a:lightRig rig="flat" dir="t"/>
            </a:scene3d>
            <a:sp3d extrusionH="254000" contourW="19050" prstMaterial="powder">
              <a:bevelT w="101600"/>
              <a:bevelB w="0" h="38100"/>
              <a:contourClr>
                <a:schemeClr val="bg1">
                  <a:lumMod val="75000"/>
                </a:schemeClr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3" name="Oval 93"/>
            <p:cNvSpPr>
              <a:spLocks noChangeArrowheads="1"/>
            </p:cNvSpPr>
            <p:nvPr/>
          </p:nvSpPr>
          <p:spPr bwMode="auto">
            <a:xfrm>
              <a:off x="1743382" y="3341172"/>
              <a:ext cx="1440000" cy="1151456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90000">
                  <a:schemeClr val="bg1">
                    <a:lumMod val="50000"/>
                  </a:schemeClr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perspectiveRelaxed" fov="1800000"/>
              <a:lightRig rig="flat" dir="t"/>
            </a:scene3d>
            <a:sp3d extrusionH="254000" contourW="19050" prstMaterial="powder">
              <a:bevelT w="101600"/>
              <a:bevelB w="0" h="38100"/>
              <a:contourClr>
                <a:schemeClr val="bg1">
                  <a:lumMod val="75000"/>
                </a:schemeClr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4" name="Oval 93"/>
            <p:cNvSpPr>
              <a:spLocks noChangeArrowheads="1"/>
            </p:cNvSpPr>
            <p:nvPr/>
          </p:nvSpPr>
          <p:spPr bwMode="auto">
            <a:xfrm>
              <a:off x="1743382" y="2980799"/>
              <a:ext cx="1440000" cy="1151456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90000">
                  <a:schemeClr val="bg1">
                    <a:lumMod val="50000"/>
                  </a:schemeClr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perspectiveRelaxed" fov="1800000"/>
              <a:lightRig rig="flat" dir="t"/>
            </a:scene3d>
            <a:sp3d extrusionH="254000" contourW="19050" prstMaterial="powder">
              <a:bevelT w="101600"/>
              <a:bevelB w="0" h="38100"/>
              <a:contourClr>
                <a:schemeClr val="bg1">
                  <a:lumMod val="75000"/>
                </a:schemeClr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5" name="Oval 93"/>
            <p:cNvSpPr>
              <a:spLocks noChangeArrowheads="1"/>
            </p:cNvSpPr>
            <p:nvPr/>
          </p:nvSpPr>
          <p:spPr bwMode="auto">
            <a:xfrm>
              <a:off x="1743382" y="2620426"/>
              <a:ext cx="1440000" cy="1151456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90000">
                  <a:schemeClr val="bg1">
                    <a:lumMod val="50000"/>
                  </a:schemeClr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perspectiveRelaxed" fov="1800000"/>
              <a:lightRig rig="flat" dir="t"/>
            </a:scene3d>
            <a:sp3d extrusionH="254000" contourW="19050" prstMaterial="powder">
              <a:bevelT w="101600"/>
              <a:bevelB w="0" h="38100"/>
              <a:contourClr>
                <a:schemeClr val="bg1">
                  <a:lumMod val="75000"/>
                </a:schemeClr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6280225" y="3034404"/>
            <a:ext cx="600043" cy="798635"/>
            <a:chOff x="6350561" y="3503220"/>
            <a:chExt cx="600043" cy="798635"/>
          </a:xfrm>
        </p:grpSpPr>
        <p:sp>
          <p:nvSpPr>
            <p:cNvPr id="10" name="AutoShape 593"/>
            <p:cNvSpPr>
              <a:spLocks noChangeArrowheads="1"/>
            </p:cNvSpPr>
            <p:nvPr/>
          </p:nvSpPr>
          <p:spPr bwMode="auto">
            <a:xfrm rot="10800000" flipH="1" flipV="1">
              <a:off x="6390753" y="3503220"/>
              <a:ext cx="559851" cy="360000"/>
            </a:xfrm>
            <a:prstGeom prst="notchedRightArrow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2" name="AutoShape 593"/>
            <p:cNvSpPr>
              <a:spLocks noChangeArrowheads="1"/>
            </p:cNvSpPr>
            <p:nvPr/>
          </p:nvSpPr>
          <p:spPr bwMode="auto">
            <a:xfrm flipH="1" flipV="1">
              <a:off x="6350561" y="3941855"/>
              <a:ext cx="559851" cy="360000"/>
            </a:xfrm>
            <a:prstGeom prst="notchedRightArrow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17" name="AutoShape 2"/>
          <p:cNvSpPr>
            <a:spLocks noChangeArrowheads="1"/>
          </p:cNvSpPr>
          <p:nvPr/>
        </p:nvSpPr>
        <p:spPr bwMode="auto">
          <a:xfrm>
            <a:off x="2818814" y="1618687"/>
            <a:ext cx="1546443" cy="2491102"/>
          </a:xfrm>
          <a:prstGeom prst="roundRect">
            <a:avLst>
              <a:gd name="adj" fmla="val 11741"/>
            </a:avLst>
          </a:prstGeom>
          <a:gradFill flip="none" rotWithShape="1">
            <a:gsLst>
              <a:gs pos="0">
                <a:srgbClr val="6EFF01"/>
              </a:gs>
              <a:gs pos="90000">
                <a:srgbClr val="0F5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>
            <a:bevelT prst="convex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/>
            </a:pPr>
            <a:endParaRPr lang="en-US" altLang="zh-CN" sz="16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AutoShape 2"/>
          <p:cNvSpPr>
            <a:spLocks noChangeArrowheads="1"/>
          </p:cNvSpPr>
          <p:nvPr/>
        </p:nvSpPr>
        <p:spPr bwMode="auto">
          <a:xfrm>
            <a:off x="2799238" y="4237123"/>
            <a:ext cx="1566019" cy="1174514"/>
          </a:xfrm>
          <a:prstGeom prst="roundRect">
            <a:avLst>
              <a:gd name="adj" fmla="val 11741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/>
            </a:pPr>
            <a:endParaRPr lang="en-US" altLang="zh-CN" sz="1600" dirty="0">
              <a:solidFill>
                <a:schemeClr val="bg1"/>
              </a:solidFill>
              <a:effectLst>
                <a:reflection blurRad="6350" stA="50000" endA="300" endPos="50000" dist="29997" dir="5400000" sy="-100000" algn="bl" rotWithShape="0"/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圆角矩形 19"/>
          <p:cNvSpPr/>
          <p:nvPr/>
        </p:nvSpPr>
        <p:spPr bwMode="auto">
          <a:xfrm>
            <a:off x="4973952" y="1582056"/>
            <a:ext cx="984720" cy="3844066"/>
          </a:xfrm>
          <a:prstGeom prst="roundRect">
            <a:avLst>
              <a:gd name="adj" fmla="val 19663"/>
            </a:avLst>
          </a:prstGeom>
          <a:gradFill flip="none" rotWithShape="1">
            <a:gsLst>
              <a:gs pos="0">
                <a:srgbClr val="00DFF6"/>
              </a:gs>
              <a:gs pos="90000">
                <a:srgbClr val="002774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prst="convex"/>
            <a:bevelB w="0" h="0"/>
            <a:contourClr>
              <a:srgbClr val="AFEAFF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en-US" sz="1600" dirty="0">
              <a:solidFill>
                <a:schemeClr val="bg1"/>
              </a:solidFill>
              <a:effectLst>
                <a:reflection blurRad="6350" stA="50000" endA="300" endPos="50000" dist="29997" dir="5400000" sy="-100000" algn="bl" rotWithShape="0"/>
              </a:effectLst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4388145" y="2436219"/>
            <a:ext cx="559851" cy="745141"/>
            <a:chOff x="4435593" y="2728387"/>
            <a:chExt cx="600043" cy="798635"/>
          </a:xfrm>
        </p:grpSpPr>
        <p:sp>
          <p:nvSpPr>
            <p:cNvPr id="22" name="AutoShape 593"/>
            <p:cNvSpPr>
              <a:spLocks noChangeArrowheads="1"/>
            </p:cNvSpPr>
            <p:nvPr/>
          </p:nvSpPr>
          <p:spPr bwMode="auto">
            <a:xfrm rot="10800000" flipH="1" flipV="1">
              <a:off x="4475785" y="2728387"/>
              <a:ext cx="559851" cy="360000"/>
            </a:xfrm>
            <a:prstGeom prst="notchedRightArrow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3" name="AutoShape 593"/>
            <p:cNvSpPr>
              <a:spLocks noChangeArrowheads="1"/>
            </p:cNvSpPr>
            <p:nvPr/>
          </p:nvSpPr>
          <p:spPr bwMode="auto">
            <a:xfrm flipH="1" flipV="1">
              <a:off x="4435593" y="3167022"/>
              <a:ext cx="559851" cy="360000"/>
            </a:xfrm>
            <a:prstGeom prst="notchedRightArrow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4405549" y="4401569"/>
            <a:ext cx="559851" cy="745141"/>
            <a:chOff x="4435593" y="2728387"/>
            <a:chExt cx="600043" cy="798635"/>
          </a:xfrm>
        </p:grpSpPr>
        <p:sp>
          <p:nvSpPr>
            <p:cNvPr id="25" name="AutoShape 593"/>
            <p:cNvSpPr>
              <a:spLocks noChangeArrowheads="1"/>
            </p:cNvSpPr>
            <p:nvPr/>
          </p:nvSpPr>
          <p:spPr bwMode="auto">
            <a:xfrm rot="10800000" flipH="1" flipV="1">
              <a:off x="4475785" y="2728387"/>
              <a:ext cx="559851" cy="360000"/>
            </a:xfrm>
            <a:prstGeom prst="notchedRightArrow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6" name="AutoShape 593"/>
            <p:cNvSpPr>
              <a:spLocks noChangeArrowheads="1"/>
            </p:cNvSpPr>
            <p:nvPr/>
          </p:nvSpPr>
          <p:spPr bwMode="auto">
            <a:xfrm flipH="1" flipV="1">
              <a:off x="4435593" y="3167022"/>
              <a:ext cx="559851" cy="360000"/>
            </a:xfrm>
            <a:prstGeom prst="notchedRightArrow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1810383" y="3034404"/>
            <a:ext cx="600043" cy="798635"/>
            <a:chOff x="6350561" y="3503220"/>
            <a:chExt cx="600043" cy="798635"/>
          </a:xfrm>
        </p:grpSpPr>
        <p:sp>
          <p:nvSpPr>
            <p:cNvPr id="28" name="AutoShape 593"/>
            <p:cNvSpPr>
              <a:spLocks noChangeArrowheads="1"/>
            </p:cNvSpPr>
            <p:nvPr/>
          </p:nvSpPr>
          <p:spPr bwMode="auto">
            <a:xfrm rot="10800000" flipH="1" flipV="1">
              <a:off x="6390753" y="3503220"/>
              <a:ext cx="559851" cy="360000"/>
            </a:xfrm>
            <a:prstGeom prst="notchedRightArrow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9" name="AutoShape 593"/>
            <p:cNvSpPr>
              <a:spLocks noChangeArrowheads="1"/>
            </p:cNvSpPr>
            <p:nvPr/>
          </p:nvSpPr>
          <p:spPr bwMode="auto">
            <a:xfrm flipH="1" flipV="1">
              <a:off x="6350561" y="3941855"/>
              <a:ext cx="559851" cy="360000"/>
            </a:xfrm>
            <a:prstGeom prst="notchedRightArrow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30" name="Group 81"/>
          <p:cNvGrpSpPr/>
          <p:nvPr/>
        </p:nvGrpSpPr>
        <p:grpSpPr>
          <a:xfrm>
            <a:off x="835376" y="2436155"/>
            <a:ext cx="944069" cy="1995132"/>
            <a:chOff x="3826890" y="1643050"/>
            <a:chExt cx="1275906" cy="2857520"/>
          </a:xfrm>
          <a:gradFill>
            <a:gsLst>
              <a:gs pos="0">
                <a:schemeClr val="bg1">
                  <a:lumMod val="95000"/>
                </a:schemeClr>
              </a:gs>
              <a:gs pos="90000">
                <a:schemeClr val="bg1">
                  <a:lumMod val="75000"/>
                </a:schemeClr>
              </a:gs>
            </a:gsLst>
            <a:lin ang="2700000" scaled="1"/>
          </a:gradFill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perspectiveLeft">
              <a:rot lat="149006" lon="19168185" rev="37737"/>
            </a:camera>
            <a:lightRig rig="soft" dir="t">
              <a:rot lat="0" lon="0" rev="21594000"/>
            </a:lightRig>
          </a:scene3d>
        </p:grpSpPr>
        <p:sp>
          <p:nvSpPr>
            <p:cNvPr id="31" name="Oval 82"/>
            <p:cNvSpPr/>
            <p:nvPr/>
          </p:nvSpPr>
          <p:spPr>
            <a:xfrm>
              <a:off x="4143372" y="1643050"/>
              <a:ext cx="642942" cy="642942"/>
            </a:xfrm>
            <a:prstGeom prst="ellipse">
              <a:avLst/>
            </a:prstGeom>
            <a:grpFill/>
            <a:ln>
              <a:noFill/>
            </a:ln>
            <a:sp3d extrusionH="127000" prstMaterial="plastic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32" name="Rounded Rectangle 83"/>
            <p:cNvSpPr/>
            <p:nvPr/>
          </p:nvSpPr>
          <p:spPr>
            <a:xfrm>
              <a:off x="4143372" y="2285992"/>
              <a:ext cx="642942" cy="1214446"/>
            </a:xfrm>
            <a:prstGeom prst="roundRect">
              <a:avLst/>
            </a:prstGeom>
            <a:grpFill/>
            <a:ln>
              <a:noFill/>
            </a:ln>
            <a:sp3d extrusionH="127000" prstMaterial="plastic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33" name="Rounded Rectangle 84"/>
            <p:cNvSpPr/>
            <p:nvPr/>
          </p:nvSpPr>
          <p:spPr>
            <a:xfrm>
              <a:off x="4143372" y="3286124"/>
              <a:ext cx="285752" cy="1214446"/>
            </a:xfrm>
            <a:prstGeom prst="roundRect">
              <a:avLst/>
            </a:prstGeom>
            <a:grpFill/>
            <a:ln>
              <a:noFill/>
            </a:ln>
            <a:sp3d extrusionH="127000" prstMaterial="plastic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34" name="Rounded Rectangle 85"/>
            <p:cNvSpPr/>
            <p:nvPr/>
          </p:nvSpPr>
          <p:spPr>
            <a:xfrm>
              <a:off x="4500562" y="3286124"/>
              <a:ext cx="285752" cy="1214446"/>
            </a:xfrm>
            <a:prstGeom prst="roundRect">
              <a:avLst/>
            </a:prstGeom>
            <a:grpFill/>
            <a:ln>
              <a:noFill/>
            </a:ln>
            <a:sp3d extrusionH="127000" prstMaterial="plastic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35" name="Rounded Rectangle 86"/>
            <p:cNvSpPr/>
            <p:nvPr/>
          </p:nvSpPr>
          <p:spPr>
            <a:xfrm rot="5400000">
              <a:off x="4250529" y="2107397"/>
              <a:ext cx="428628" cy="785818"/>
            </a:xfrm>
            <a:prstGeom prst="roundRect">
              <a:avLst>
                <a:gd name="adj" fmla="val 41602"/>
              </a:avLst>
            </a:prstGeom>
            <a:grpFill/>
            <a:ln>
              <a:noFill/>
            </a:ln>
            <a:sp3d extrusionH="127000" prstMaterial="plastic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36" name="Rounded Rectangle 87"/>
            <p:cNvSpPr/>
            <p:nvPr/>
          </p:nvSpPr>
          <p:spPr>
            <a:xfrm rot="2424487">
              <a:off x="3826890" y="2274884"/>
              <a:ext cx="295276" cy="895492"/>
            </a:xfrm>
            <a:prstGeom prst="roundRect">
              <a:avLst>
                <a:gd name="adj" fmla="val 41602"/>
              </a:avLst>
            </a:prstGeom>
            <a:grpFill/>
            <a:ln>
              <a:noFill/>
            </a:ln>
            <a:sp3d extrusionH="127000" prstMaterial="plastic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37" name="Rounded Rectangle 88"/>
            <p:cNvSpPr/>
            <p:nvPr/>
          </p:nvSpPr>
          <p:spPr>
            <a:xfrm rot="19175513" flipH="1">
              <a:off x="4807520" y="2258864"/>
              <a:ext cx="295276" cy="895492"/>
            </a:xfrm>
            <a:prstGeom prst="roundRect">
              <a:avLst>
                <a:gd name="adj" fmla="val 41602"/>
              </a:avLst>
            </a:prstGeom>
            <a:grpFill/>
            <a:ln>
              <a:noFill/>
            </a:ln>
            <a:sp3d extrusionH="127000" prstMaterial="plastic">
              <a:extrusionClr>
                <a:schemeClr val="bg1"/>
              </a:extrusionClr>
              <a:contourClr>
                <a:schemeClr val="bg1">
                  <a:lumMod val="65000"/>
                </a:schemeClr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824634" y="4726238"/>
            <a:ext cx="975701" cy="454400"/>
            <a:chOff x="552659" y="1045748"/>
            <a:chExt cx="5278986" cy="694798"/>
          </a:xfrm>
        </p:grpSpPr>
        <p:sp>
          <p:nvSpPr>
            <p:cNvPr id="40" name="AutoShap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white">
            <a:xfrm>
              <a:off x="552659" y="1045748"/>
              <a:ext cx="5278986" cy="694798"/>
            </a:xfrm>
            <a:prstGeom prst="roundRect">
              <a:avLst>
                <a:gd name="adj" fmla="val 11486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0">
                    <a:schemeClr val="accent2">
                      <a:lumMod val="75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coolSlan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6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654949" y="1092413"/>
              <a:ext cx="5176696" cy="40577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zh-CN" altLang="en-US" sz="16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用户</a:t>
              </a:r>
              <a:endParaRPr lang="zh-CN" altLang="en-US" sz="1600" b="1" i="0" spc="50" dirty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>
            <a:off x="7224251" y="4539230"/>
            <a:ext cx="975701" cy="454400"/>
            <a:chOff x="552659" y="1045748"/>
            <a:chExt cx="5278986" cy="694798"/>
          </a:xfrm>
        </p:grpSpPr>
        <p:sp>
          <p:nvSpPr>
            <p:cNvPr id="43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white">
            <a:xfrm>
              <a:off x="552659" y="1045748"/>
              <a:ext cx="5278986" cy="694798"/>
            </a:xfrm>
            <a:prstGeom prst="roundRect">
              <a:avLst>
                <a:gd name="adj" fmla="val 11486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0">
                    <a:schemeClr val="accent2">
                      <a:lumMod val="75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coolSlan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6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654949" y="1092413"/>
              <a:ext cx="5176696" cy="517664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zh-CN" altLang="en-US" sz="16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数据库</a:t>
              </a:r>
              <a:endParaRPr lang="zh-CN" altLang="en-US" sz="1600" b="1" i="0" spc="50" dirty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3763791" y="5796948"/>
            <a:ext cx="1401081" cy="615294"/>
            <a:chOff x="552659" y="1045748"/>
            <a:chExt cx="5278986" cy="940812"/>
          </a:xfrm>
        </p:grpSpPr>
        <p:sp>
          <p:nvSpPr>
            <p:cNvPr id="46" name="AutoShap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white">
            <a:xfrm>
              <a:off x="552659" y="1045748"/>
              <a:ext cx="5278986" cy="694798"/>
            </a:xfrm>
            <a:prstGeom prst="roundRect">
              <a:avLst>
                <a:gd name="adj" fmla="val 11486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0">
                    <a:schemeClr val="accent2">
                      <a:lumMod val="75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coolSlan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6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654949" y="1092413"/>
              <a:ext cx="5176696" cy="894147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zh-CN" altLang="en-US" sz="16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网站系统</a:t>
              </a:r>
              <a:endParaRPr lang="zh-CN" altLang="en-US" sz="1600" b="1" i="0" spc="50" dirty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</p:grpSp>
      <p:sp>
        <p:nvSpPr>
          <p:cNvPr id="48" name="TextBox 47"/>
          <p:cNvSpPr txBox="1"/>
          <p:nvPr/>
        </p:nvSpPr>
        <p:spPr>
          <a:xfrm>
            <a:off x="2905069" y="2553422"/>
            <a:ext cx="137393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kumimoji="1" sz="1600" i="0">
                <a:ln w="12700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官方网站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2905069" y="4440175"/>
            <a:ext cx="137393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kumimoji="1" sz="1600" i="0">
                <a:ln w="12700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年度专题</a:t>
            </a:r>
            <a:endParaRPr lang="en-US" altLang="zh-CN" dirty="0" smtClean="0"/>
          </a:p>
          <a:p>
            <a:r>
              <a:rPr lang="zh-CN" altLang="en-US" dirty="0" smtClean="0"/>
              <a:t>与</a:t>
            </a:r>
            <a:endParaRPr lang="en-US" altLang="zh-CN" dirty="0" smtClean="0"/>
          </a:p>
          <a:p>
            <a:r>
              <a:rPr lang="zh-CN" altLang="en-US" dirty="0"/>
              <a:t>数据提交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5205064" y="2742954"/>
            <a:ext cx="522495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defPPr>
              <a:defRPr lang="zh-CN"/>
            </a:defPPr>
            <a:lvl1pPr algn="ctr" fontAlgn="auto">
              <a:spcBef>
                <a:spcPts val="0"/>
              </a:spcBef>
              <a:spcAft>
                <a:spcPts val="0"/>
              </a:spcAft>
              <a:defRPr kumimoji="1" sz="1600" i="0">
                <a:ln w="12700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管理后台系统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xmlns="" val="8417573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使用条件</a:t>
            </a:r>
            <a:endParaRPr lang="zh-CN" altLang="en-US" dirty="0"/>
          </a:p>
        </p:txBody>
      </p:sp>
      <p:grpSp>
        <p:nvGrpSpPr>
          <p:cNvPr id="4" name="组合 3"/>
          <p:cNvGrpSpPr/>
          <p:nvPr/>
        </p:nvGrpSpPr>
        <p:grpSpPr>
          <a:xfrm>
            <a:off x="4881162" y="1726662"/>
            <a:ext cx="3476512" cy="3767580"/>
            <a:chOff x="467544" y="1753161"/>
            <a:chExt cx="3476512" cy="3767580"/>
          </a:xfrm>
        </p:grpSpPr>
        <p:sp>
          <p:nvSpPr>
            <p:cNvPr id="5" name="AutoShape 81"/>
            <p:cNvSpPr>
              <a:spLocks noChangeArrowheads="1"/>
            </p:cNvSpPr>
            <p:nvPr/>
          </p:nvSpPr>
          <p:spPr bwMode="auto">
            <a:xfrm>
              <a:off x="467544" y="2015877"/>
              <a:ext cx="3476512" cy="3504864"/>
            </a:xfrm>
            <a:prstGeom prst="roundRect">
              <a:avLst>
                <a:gd name="adj" fmla="val 5005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artDeco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6" name="圆角矩形 5"/>
            <p:cNvSpPr/>
            <p:nvPr/>
          </p:nvSpPr>
          <p:spPr bwMode="auto">
            <a:xfrm>
              <a:off x="629543" y="1753161"/>
              <a:ext cx="1567243" cy="432000"/>
            </a:xfrm>
            <a:prstGeom prst="roundRect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7" name="TextBox 22"/>
            <p:cNvSpPr txBox="1">
              <a:spLocks noChangeArrowheads="1"/>
            </p:cNvSpPr>
            <p:nvPr/>
          </p:nvSpPr>
          <p:spPr bwMode="auto">
            <a:xfrm>
              <a:off x="707969" y="1780598"/>
              <a:ext cx="1439814" cy="3965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 eaLnBrk="1" hangingPunct="1">
                <a:lnSpc>
                  <a:spcPct val="120000"/>
                </a:lnSpc>
              </a:pPr>
              <a:r>
                <a:rPr lang="zh-CN" altLang="en-US" i="0" dirty="0">
                  <a:ln w="6350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软件</a:t>
              </a:r>
              <a:r>
                <a:rPr lang="zh-CN" altLang="en-US" i="0" dirty="0" smtClean="0">
                  <a:ln w="6350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条件</a:t>
              </a:r>
              <a:endParaRPr lang="zh-CN" altLang="en-US" i="0" dirty="0">
                <a:ln w="6350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endParaRPr>
            </a:p>
          </p:txBody>
        </p:sp>
      </p:grpSp>
      <p:pic>
        <p:nvPicPr>
          <p:cNvPr id="8" name="Picture 2" descr="E:\新工作目录\源代码库\青少年科技创新活动帮助系统\images\browser\i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43161" y="3054486"/>
            <a:ext cx="995121" cy="995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E:\新工作目录\源代码库\青少年科技创新活动帮助系统\images\browser\opera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579532" y="4329359"/>
            <a:ext cx="987466" cy="979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5" descr="E:\新工作目录\源代码库\青少年科技创新活动帮助系统\images\browser\safari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58229" y="4323467"/>
            <a:ext cx="987466" cy="979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E:\新工作目录\源代码库\青少年科技创新活动帮助系统\images\browser\chrom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25685" y="3064534"/>
            <a:ext cx="987466" cy="979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7" descr="E:\新工作目录\源代码库\青少年科技创新活动帮助系统\images\browser\firefox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94376" y="3054485"/>
            <a:ext cx="987466" cy="979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组合 13"/>
          <p:cNvGrpSpPr/>
          <p:nvPr/>
        </p:nvGrpSpPr>
        <p:grpSpPr>
          <a:xfrm>
            <a:off x="712601" y="1726662"/>
            <a:ext cx="3476512" cy="3767580"/>
            <a:chOff x="467544" y="1753161"/>
            <a:chExt cx="3476512" cy="3767580"/>
          </a:xfrm>
        </p:grpSpPr>
        <p:sp>
          <p:nvSpPr>
            <p:cNvPr id="15" name="AutoShape 81"/>
            <p:cNvSpPr>
              <a:spLocks noChangeArrowheads="1"/>
            </p:cNvSpPr>
            <p:nvPr/>
          </p:nvSpPr>
          <p:spPr bwMode="auto">
            <a:xfrm>
              <a:off x="467544" y="2015877"/>
              <a:ext cx="3476512" cy="3504864"/>
            </a:xfrm>
            <a:prstGeom prst="roundRect">
              <a:avLst>
                <a:gd name="adj" fmla="val 5005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artDeco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6" name="圆角矩形 15"/>
            <p:cNvSpPr/>
            <p:nvPr/>
          </p:nvSpPr>
          <p:spPr bwMode="auto">
            <a:xfrm>
              <a:off x="629543" y="1753161"/>
              <a:ext cx="1567243" cy="432000"/>
            </a:xfrm>
            <a:prstGeom prst="roundRect">
              <a:avLst/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en-US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7" name="TextBox 22"/>
            <p:cNvSpPr txBox="1">
              <a:spLocks noChangeArrowheads="1"/>
            </p:cNvSpPr>
            <p:nvPr/>
          </p:nvSpPr>
          <p:spPr bwMode="auto">
            <a:xfrm>
              <a:off x="707969" y="1780598"/>
              <a:ext cx="1439814" cy="3965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algn="ctr" eaLnBrk="1" hangingPunct="1">
                <a:lnSpc>
                  <a:spcPct val="120000"/>
                </a:lnSpc>
              </a:pPr>
              <a:r>
                <a:rPr lang="zh-CN" altLang="en-US" i="0" dirty="0">
                  <a:ln w="6350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硬件条件</a:t>
              </a: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874600" y="2469906"/>
            <a:ext cx="30984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i="0" dirty="0">
                <a:latin typeface="+mn-lt"/>
                <a:ea typeface="+mn-ea"/>
              </a:rPr>
              <a:t>可连接至互联网的计算机</a:t>
            </a:r>
          </a:p>
        </p:txBody>
      </p:sp>
      <p:pic>
        <p:nvPicPr>
          <p:cNvPr id="19" name="Picture 36" descr="台式电脑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18643" y="3054486"/>
            <a:ext cx="1956923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5043161" y="2469906"/>
            <a:ext cx="30984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i="0" dirty="0" smtClean="0">
                <a:latin typeface="+mn-lt"/>
                <a:ea typeface="+mn-ea"/>
              </a:rPr>
              <a:t>兼容主流网页浏览器</a:t>
            </a:r>
            <a:endParaRPr lang="zh-CN" altLang="en-US" sz="2000" i="0" dirty="0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169044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提交内容</a:t>
            </a:r>
            <a:endParaRPr lang="zh-CN" altLang="en-US" dirty="0"/>
          </a:p>
        </p:txBody>
      </p:sp>
      <p:sp>
        <p:nvSpPr>
          <p:cNvPr id="57" name="椭圆 10"/>
          <p:cNvSpPr>
            <a:spLocks noChangeArrowheads="1"/>
          </p:cNvSpPr>
          <p:nvPr/>
        </p:nvSpPr>
        <p:spPr bwMode="auto">
          <a:xfrm flipH="1" flipV="1">
            <a:off x="1897657" y="4761258"/>
            <a:ext cx="5208137" cy="1368030"/>
          </a:xfrm>
          <a:prstGeom prst="ellipse">
            <a:avLst/>
          </a:prstGeom>
          <a:gradFill rotWithShape="1">
            <a:gsLst>
              <a:gs pos="0">
                <a:schemeClr val="tx1">
                  <a:lumMod val="93000"/>
                  <a:lumOff val="7000"/>
                  <a:alpha val="34000"/>
                </a:schemeClr>
              </a:gs>
              <a:gs pos="100000">
                <a:srgbClr val="FFFFFF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ffectLst>
            <a:glow rad="127000">
              <a:srgbClr val="F79524">
                <a:alpha val="0"/>
              </a:srgbClr>
            </a:glow>
            <a:outerShdw dist="107763" dir="2700000" algn="ctr" rotWithShape="0">
              <a:srgbClr val="535455"/>
            </a:outerShdw>
            <a:softEdge rad="368300"/>
          </a:effectLst>
          <a:extLst/>
        </p:spPr>
        <p:txBody>
          <a:bodyPr wrap="none" lIns="92075" tIns="46038" rIns="92075" bIns="4603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zh-CN" kern="0">
              <a:solidFill>
                <a:sysClr val="windowText" lastClr="000000"/>
              </a:solidFill>
              <a:latin typeface="Arial" pitchFamily="34" charset="0"/>
              <a:ea typeface="宋体" pitchFamily="2" charset="-122"/>
            </a:endParaRPr>
          </a:p>
        </p:txBody>
      </p:sp>
      <p:grpSp>
        <p:nvGrpSpPr>
          <p:cNvPr id="98" name="组合 97"/>
          <p:cNvGrpSpPr/>
          <p:nvPr/>
        </p:nvGrpSpPr>
        <p:grpSpPr>
          <a:xfrm>
            <a:off x="2781902" y="2899297"/>
            <a:ext cx="2017867" cy="2220568"/>
            <a:chOff x="2753327" y="2937397"/>
            <a:chExt cx="2017867" cy="2220568"/>
          </a:xfrm>
        </p:grpSpPr>
        <p:grpSp>
          <p:nvGrpSpPr>
            <p:cNvPr id="48" name="组合 47"/>
            <p:cNvGrpSpPr/>
            <p:nvPr/>
          </p:nvGrpSpPr>
          <p:grpSpPr>
            <a:xfrm>
              <a:off x="2753327" y="2937397"/>
              <a:ext cx="2017867" cy="2220568"/>
              <a:chOff x="932405" y="3828280"/>
              <a:chExt cx="1921042" cy="2114017"/>
            </a:xfrm>
          </p:grpSpPr>
          <p:grpSp>
            <p:nvGrpSpPr>
              <p:cNvPr id="49" name="组合 48"/>
              <p:cNvGrpSpPr/>
              <p:nvPr/>
            </p:nvGrpSpPr>
            <p:grpSpPr>
              <a:xfrm>
                <a:off x="932405" y="3828280"/>
                <a:ext cx="1921042" cy="2102994"/>
                <a:chOff x="2559277" y="4211515"/>
                <a:chExt cx="1921042" cy="2102994"/>
              </a:xfrm>
            </p:grpSpPr>
            <p:sp>
              <p:nvSpPr>
                <p:cNvPr id="51" name="椭圆 6"/>
                <p:cNvSpPr/>
                <p:nvPr/>
              </p:nvSpPr>
              <p:spPr>
                <a:xfrm rot="8136182" flipH="1">
                  <a:off x="2742245" y="4211515"/>
                  <a:ext cx="1738074" cy="2102994"/>
                </a:xfrm>
                <a:custGeom>
                  <a:avLst/>
                  <a:gdLst>
                    <a:gd name="connsiteX0" fmla="*/ 1337568 w 2295129"/>
                    <a:gd name="connsiteY0" fmla="*/ 129 h 2275542"/>
                    <a:gd name="connsiteX1" fmla="*/ 2295129 w 2295129"/>
                    <a:gd name="connsiteY1" fmla="*/ 404830 h 2275542"/>
                    <a:gd name="connsiteX2" fmla="*/ 384531 w 2295129"/>
                    <a:gd name="connsiteY2" fmla="*/ 2275542 h 2275542"/>
                    <a:gd name="connsiteX3" fmla="*/ 0 w 2295129"/>
                    <a:gd name="connsiteY3" fmla="*/ 1337697 h 2275542"/>
                    <a:gd name="connsiteX4" fmla="*/ 405974 w 2295129"/>
                    <a:gd name="connsiteY4" fmla="*/ 373226 h 2275542"/>
                    <a:gd name="connsiteX5" fmla="*/ 1337568 w 2295129"/>
                    <a:gd name="connsiteY5" fmla="*/ 129 h 2275542"/>
                    <a:gd name="connsiteX0" fmla="*/ 1337568 w 1463983"/>
                    <a:gd name="connsiteY0" fmla="*/ 129 h 2275542"/>
                    <a:gd name="connsiteX1" fmla="*/ 1350589 w 1463983"/>
                    <a:gd name="connsiteY1" fmla="*/ 1078446 h 2275542"/>
                    <a:gd name="connsiteX2" fmla="*/ 384531 w 1463983"/>
                    <a:gd name="connsiteY2" fmla="*/ 2275542 h 2275542"/>
                    <a:gd name="connsiteX3" fmla="*/ 0 w 1463983"/>
                    <a:gd name="connsiteY3" fmla="*/ 1337697 h 2275542"/>
                    <a:gd name="connsiteX4" fmla="*/ 405974 w 1463983"/>
                    <a:gd name="connsiteY4" fmla="*/ 373226 h 2275542"/>
                    <a:gd name="connsiteX5" fmla="*/ 1337568 w 1463983"/>
                    <a:gd name="connsiteY5" fmla="*/ 129 h 2275542"/>
                    <a:gd name="connsiteX0" fmla="*/ 405974 w 1350602"/>
                    <a:gd name="connsiteY0" fmla="*/ 3009 h 1905325"/>
                    <a:gd name="connsiteX1" fmla="*/ 1350589 w 1350602"/>
                    <a:gd name="connsiteY1" fmla="*/ 708229 h 1905325"/>
                    <a:gd name="connsiteX2" fmla="*/ 384531 w 1350602"/>
                    <a:gd name="connsiteY2" fmla="*/ 1905325 h 1905325"/>
                    <a:gd name="connsiteX3" fmla="*/ 0 w 1350602"/>
                    <a:gd name="connsiteY3" fmla="*/ 967480 h 1905325"/>
                    <a:gd name="connsiteX4" fmla="*/ 405974 w 1350602"/>
                    <a:gd name="connsiteY4" fmla="*/ 3009 h 1905325"/>
                    <a:gd name="connsiteX0" fmla="*/ 405974 w 1350602"/>
                    <a:gd name="connsiteY0" fmla="*/ 3009 h 1905325"/>
                    <a:gd name="connsiteX1" fmla="*/ 1350589 w 1350602"/>
                    <a:gd name="connsiteY1" fmla="*/ 708229 h 1905325"/>
                    <a:gd name="connsiteX2" fmla="*/ 384531 w 1350602"/>
                    <a:gd name="connsiteY2" fmla="*/ 1905325 h 1905325"/>
                    <a:gd name="connsiteX3" fmla="*/ 0 w 1350602"/>
                    <a:gd name="connsiteY3" fmla="*/ 967480 h 1905325"/>
                    <a:gd name="connsiteX4" fmla="*/ 405974 w 1350602"/>
                    <a:gd name="connsiteY4" fmla="*/ 3009 h 1905325"/>
                    <a:gd name="connsiteX0" fmla="*/ 405974 w 1350589"/>
                    <a:gd name="connsiteY0" fmla="*/ 2507 h 1904823"/>
                    <a:gd name="connsiteX1" fmla="*/ 1350589 w 1350589"/>
                    <a:gd name="connsiteY1" fmla="*/ 707727 h 1904823"/>
                    <a:gd name="connsiteX2" fmla="*/ 384531 w 1350589"/>
                    <a:gd name="connsiteY2" fmla="*/ 1904823 h 1904823"/>
                    <a:gd name="connsiteX3" fmla="*/ 0 w 1350589"/>
                    <a:gd name="connsiteY3" fmla="*/ 966978 h 1904823"/>
                    <a:gd name="connsiteX4" fmla="*/ 405974 w 1350589"/>
                    <a:gd name="connsiteY4" fmla="*/ 2507 h 1904823"/>
                    <a:gd name="connsiteX0" fmla="*/ 405974 w 1374471"/>
                    <a:gd name="connsiteY0" fmla="*/ 2507 h 1908886"/>
                    <a:gd name="connsiteX1" fmla="*/ 1350589 w 1374471"/>
                    <a:gd name="connsiteY1" fmla="*/ 707727 h 1908886"/>
                    <a:gd name="connsiteX2" fmla="*/ 1032107 w 1374471"/>
                    <a:gd name="connsiteY2" fmla="*/ 1283445 h 1908886"/>
                    <a:gd name="connsiteX3" fmla="*/ 384531 w 1374471"/>
                    <a:gd name="connsiteY3" fmla="*/ 1904823 h 1908886"/>
                    <a:gd name="connsiteX4" fmla="*/ 0 w 1374471"/>
                    <a:gd name="connsiteY4" fmla="*/ 966978 h 1908886"/>
                    <a:gd name="connsiteX5" fmla="*/ 405974 w 1374471"/>
                    <a:gd name="connsiteY5" fmla="*/ 2507 h 1908886"/>
                    <a:gd name="connsiteX0" fmla="*/ 405974 w 1423807"/>
                    <a:gd name="connsiteY0" fmla="*/ 2507 h 1908687"/>
                    <a:gd name="connsiteX1" fmla="*/ 1350589 w 1423807"/>
                    <a:gd name="connsiteY1" fmla="*/ 707727 h 1908687"/>
                    <a:gd name="connsiteX2" fmla="*/ 1296044 w 1423807"/>
                    <a:gd name="connsiteY2" fmla="*/ 1256928 h 1908687"/>
                    <a:gd name="connsiteX3" fmla="*/ 384531 w 1423807"/>
                    <a:gd name="connsiteY3" fmla="*/ 1904823 h 1908687"/>
                    <a:gd name="connsiteX4" fmla="*/ 0 w 1423807"/>
                    <a:gd name="connsiteY4" fmla="*/ 966978 h 1908687"/>
                    <a:gd name="connsiteX5" fmla="*/ 405974 w 1423807"/>
                    <a:gd name="connsiteY5" fmla="*/ 2507 h 1908687"/>
                    <a:gd name="connsiteX0" fmla="*/ 405974 w 1385391"/>
                    <a:gd name="connsiteY0" fmla="*/ 2507 h 1908687"/>
                    <a:gd name="connsiteX1" fmla="*/ 1350589 w 1385391"/>
                    <a:gd name="connsiteY1" fmla="*/ 707727 h 1908687"/>
                    <a:gd name="connsiteX2" fmla="*/ 1296044 w 1385391"/>
                    <a:gd name="connsiteY2" fmla="*/ 1256928 h 1908687"/>
                    <a:gd name="connsiteX3" fmla="*/ 384531 w 1385391"/>
                    <a:gd name="connsiteY3" fmla="*/ 1904823 h 1908687"/>
                    <a:gd name="connsiteX4" fmla="*/ 0 w 1385391"/>
                    <a:gd name="connsiteY4" fmla="*/ 966978 h 1908687"/>
                    <a:gd name="connsiteX5" fmla="*/ 405974 w 1385391"/>
                    <a:gd name="connsiteY5" fmla="*/ 2507 h 1908687"/>
                    <a:gd name="connsiteX0" fmla="*/ 405974 w 1350589"/>
                    <a:gd name="connsiteY0" fmla="*/ 2507 h 1908687"/>
                    <a:gd name="connsiteX1" fmla="*/ 1350589 w 1350589"/>
                    <a:gd name="connsiteY1" fmla="*/ 707727 h 1908687"/>
                    <a:gd name="connsiteX2" fmla="*/ 1296044 w 1350589"/>
                    <a:gd name="connsiteY2" fmla="*/ 1256928 h 1908687"/>
                    <a:gd name="connsiteX3" fmla="*/ 384531 w 1350589"/>
                    <a:gd name="connsiteY3" fmla="*/ 1904823 h 1908687"/>
                    <a:gd name="connsiteX4" fmla="*/ 0 w 1350589"/>
                    <a:gd name="connsiteY4" fmla="*/ 966978 h 1908687"/>
                    <a:gd name="connsiteX5" fmla="*/ 405974 w 1350589"/>
                    <a:gd name="connsiteY5" fmla="*/ 2507 h 1908687"/>
                    <a:gd name="connsiteX0" fmla="*/ 405974 w 1350589"/>
                    <a:gd name="connsiteY0" fmla="*/ 2507 h 1908588"/>
                    <a:gd name="connsiteX1" fmla="*/ 1350589 w 1350589"/>
                    <a:gd name="connsiteY1" fmla="*/ 707727 h 1908588"/>
                    <a:gd name="connsiteX2" fmla="*/ 1320607 w 1350589"/>
                    <a:gd name="connsiteY2" fmla="*/ 1242539 h 1908588"/>
                    <a:gd name="connsiteX3" fmla="*/ 384531 w 1350589"/>
                    <a:gd name="connsiteY3" fmla="*/ 1904823 h 1908588"/>
                    <a:gd name="connsiteX4" fmla="*/ 0 w 1350589"/>
                    <a:gd name="connsiteY4" fmla="*/ 966978 h 1908588"/>
                    <a:gd name="connsiteX5" fmla="*/ 405974 w 1350589"/>
                    <a:gd name="connsiteY5" fmla="*/ 2507 h 1908588"/>
                    <a:gd name="connsiteX0" fmla="*/ 405974 w 1350589"/>
                    <a:gd name="connsiteY0" fmla="*/ 2507 h 1908588"/>
                    <a:gd name="connsiteX1" fmla="*/ 1350589 w 1350589"/>
                    <a:gd name="connsiteY1" fmla="*/ 707727 h 1908588"/>
                    <a:gd name="connsiteX2" fmla="*/ 1320607 w 1350589"/>
                    <a:gd name="connsiteY2" fmla="*/ 1242539 h 1908588"/>
                    <a:gd name="connsiteX3" fmla="*/ 384531 w 1350589"/>
                    <a:gd name="connsiteY3" fmla="*/ 1904823 h 1908588"/>
                    <a:gd name="connsiteX4" fmla="*/ 0 w 1350589"/>
                    <a:gd name="connsiteY4" fmla="*/ 966978 h 1908588"/>
                    <a:gd name="connsiteX5" fmla="*/ 405974 w 1350589"/>
                    <a:gd name="connsiteY5" fmla="*/ 2507 h 1908588"/>
                    <a:gd name="connsiteX0" fmla="*/ 405974 w 1350589"/>
                    <a:gd name="connsiteY0" fmla="*/ 2507 h 1908588"/>
                    <a:gd name="connsiteX1" fmla="*/ 1350589 w 1350589"/>
                    <a:gd name="connsiteY1" fmla="*/ 707727 h 1908588"/>
                    <a:gd name="connsiteX2" fmla="*/ 1320607 w 1350589"/>
                    <a:gd name="connsiteY2" fmla="*/ 1242539 h 1908588"/>
                    <a:gd name="connsiteX3" fmla="*/ 384531 w 1350589"/>
                    <a:gd name="connsiteY3" fmla="*/ 1904823 h 1908588"/>
                    <a:gd name="connsiteX4" fmla="*/ 0 w 1350589"/>
                    <a:gd name="connsiteY4" fmla="*/ 966978 h 1908588"/>
                    <a:gd name="connsiteX5" fmla="*/ 405974 w 1350589"/>
                    <a:gd name="connsiteY5" fmla="*/ 2507 h 1908588"/>
                    <a:gd name="connsiteX0" fmla="*/ 405974 w 1635550"/>
                    <a:gd name="connsiteY0" fmla="*/ 2507 h 1907357"/>
                    <a:gd name="connsiteX1" fmla="*/ 1350589 w 1635550"/>
                    <a:gd name="connsiteY1" fmla="*/ 707727 h 1907357"/>
                    <a:gd name="connsiteX2" fmla="*/ 1634847 w 1635550"/>
                    <a:gd name="connsiteY2" fmla="*/ 972332 h 1907357"/>
                    <a:gd name="connsiteX3" fmla="*/ 384531 w 1635550"/>
                    <a:gd name="connsiteY3" fmla="*/ 1904823 h 1907357"/>
                    <a:gd name="connsiteX4" fmla="*/ 0 w 1635550"/>
                    <a:gd name="connsiteY4" fmla="*/ 966978 h 1907357"/>
                    <a:gd name="connsiteX5" fmla="*/ 405974 w 1635550"/>
                    <a:gd name="connsiteY5" fmla="*/ 2507 h 1907357"/>
                    <a:gd name="connsiteX0" fmla="*/ 405974 w 1634847"/>
                    <a:gd name="connsiteY0" fmla="*/ 2507 h 1907357"/>
                    <a:gd name="connsiteX1" fmla="*/ 1350589 w 1634847"/>
                    <a:gd name="connsiteY1" fmla="*/ 707727 h 1907357"/>
                    <a:gd name="connsiteX2" fmla="*/ 1634847 w 1634847"/>
                    <a:gd name="connsiteY2" fmla="*/ 972332 h 1907357"/>
                    <a:gd name="connsiteX3" fmla="*/ 384531 w 1634847"/>
                    <a:gd name="connsiteY3" fmla="*/ 1904823 h 1907357"/>
                    <a:gd name="connsiteX4" fmla="*/ 0 w 1634847"/>
                    <a:gd name="connsiteY4" fmla="*/ 966978 h 1907357"/>
                    <a:gd name="connsiteX5" fmla="*/ 405974 w 1634847"/>
                    <a:gd name="connsiteY5" fmla="*/ 2507 h 1907357"/>
                    <a:gd name="connsiteX0" fmla="*/ 405974 w 1634847"/>
                    <a:gd name="connsiteY0" fmla="*/ 2507 h 1907357"/>
                    <a:gd name="connsiteX1" fmla="*/ 1350589 w 1634847"/>
                    <a:gd name="connsiteY1" fmla="*/ 707727 h 1907357"/>
                    <a:gd name="connsiteX2" fmla="*/ 1634847 w 1634847"/>
                    <a:gd name="connsiteY2" fmla="*/ 972332 h 1907357"/>
                    <a:gd name="connsiteX3" fmla="*/ 384531 w 1634847"/>
                    <a:gd name="connsiteY3" fmla="*/ 1904823 h 1907357"/>
                    <a:gd name="connsiteX4" fmla="*/ 0 w 1634847"/>
                    <a:gd name="connsiteY4" fmla="*/ 966978 h 1907357"/>
                    <a:gd name="connsiteX5" fmla="*/ 405974 w 1634847"/>
                    <a:gd name="connsiteY5" fmla="*/ 2507 h 1907357"/>
                    <a:gd name="connsiteX0" fmla="*/ 405974 w 1634847"/>
                    <a:gd name="connsiteY0" fmla="*/ 2507 h 1907357"/>
                    <a:gd name="connsiteX1" fmla="*/ 1350589 w 1634847"/>
                    <a:gd name="connsiteY1" fmla="*/ 707727 h 1907357"/>
                    <a:gd name="connsiteX2" fmla="*/ 1634847 w 1634847"/>
                    <a:gd name="connsiteY2" fmla="*/ 972332 h 1907357"/>
                    <a:gd name="connsiteX3" fmla="*/ 384531 w 1634847"/>
                    <a:gd name="connsiteY3" fmla="*/ 1904823 h 1907357"/>
                    <a:gd name="connsiteX4" fmla="*/ 0 w 1634847"/>
                    <a:gd name="connsiteY4" fmla="*/ 966978 h 1907357"/>
                    <a:gd name="connsiteX5" fmla="*/ 405974 w 1634847"/>
                    <a:gd name="connsiteY5" fmla="*/ 2507 h 1907357"/>
                    <a:gd name="connsiteX0" fmla="*/ 405974 w 1619626"/>
                    <a:gd name="connsiteY0" fmla="*/ 2507 h 1907402"/>
                    <a:gd name="connsiteX1" fmla="*/ 1350589 w 1619626"/>
                    <a:gd name="connsiteY1" fmla="*/ 707727 h 1907402"/>
                    <a:gd name="connsiteX2" fmla="*/ 1619626 w 1619626"/>
                    <a:gd name="connsiteY2" fmla="*/ 986824 h 1907402"/>
                    <a:gd name="connsiteX3" fmla="*/ 384531 w 1619626"/>
                    <a:gd name="connsiteY3" fmla="*/ 1904823 h 1907402"/>
                    <a:gd name="connsiteX4" fmla="*/ 0 w 1619626"/>
                    <a:gd name="connsiteY4" fmla="*/ 966978 h 1907402"/>
                    <a:gd name="connsiteX5" fmla="*/ 405974 w 1619626"/>
                    <a:gd name="connsiteY5" fmla="*/ 2507 h 1907402"/>
                    <a:gd name="connsiteX0" fmla="*/ 405974 w 1619626"/>
                    <a:gd name="connsiteY0" fmla="*/ 2507 h 1907402"/>
                    <a:gd name="connsiteX1" fmla="*/ 1350589 w 1619626"/>
                    <a:gd name="connsiteY1" fmla="*/ 707727 h 1907402"/>
                    <a:gd name="connsiteX2" fmla="*/ 1619626 w 1619626"/>
                    <a:gd name="connsiteY2" fmla="*/ 986824 h 1907402"/>
                    <a:gd name="connsiteX3" fmla="*/ 384531 w 1619626"/>
                    <a:gd name="connsiteY3" fmla="*/ 1904823 h 1907402"/>
                    <a:gd name="connsiteX4" fmla="*/ 0 w 1619626"/>
                    <a:gd name="connsiteY4" fmla="*/ 966978 h 1907402"/>
                    <a:gd name="connsiteX5" fmla="*/ 405974 w 1619626"/>
                    <a:gd name="connsiteY5" fmla="*/ 2507 h 1907402"/>
                    <a:gd name="connsiteX0" fmla="*/ 405974 w 1619626"/>
                    <a:gd name="connsiteY0" fmla="*/ 2876 h 1907771"/>
                    <a:gd name="connsiteX1" fmla="*/ 1426693 w 1619626"/>
                    <a:gd name="connsiteY1" fmla="*/ 635637 h 1907771"/>
                    <a:gd name="connsiteX2" fmla="*/ 1619626 w 1619626"/>
                    <a:gd name="connsiteY2" fmla="*/ 987193 h 1907771"/>
                    <a:gd name="connsiteX3" fmla="*/ 384531 w 1619626"/>
                    <a:gd name="connsiteY3" fmla="*/ 1905192 h 1907771"/>
                    <a:gd name="connsiteX4" fmla="*/ 0 w 1619626"/>
                    <a:gd name="connsiteY4" fmla="*/ 967347 h 1907771"/>
                    <a:gd name="connsiteX5" fmla="*/ 405974 w 1619626"/>
                    <a:gd name="connsiteY5" fmla="*/ 2876 h 1907771"/>
                    <a:gd name="connsiteX0" fmla="*/ 405974 w 1619626"/>
                    <a:gd name="connsiteY0" fmla="*/ 2876 h 1907771"/>
                    <a:gd name="connsiteX1" fmla="*/ 1426693 w 1619626"/>
                    <a:gd name="connsiteY1" fmla="*/ 635637 h 1907771"/>
                    <a:gd name="connsiteX2" fmla="*/ 1619626 w 1619626"/>
                    <a:gd name="connsiteY2" fmla="*/ 987193 h 1907771"/>
                    <a:gd name="connsiteX3" fmla="*/ 384531 w 1619626"/>
                    <a:gd name="connsiteY3" fmla="*/ 1905192 h 1907771"/>
                    <a:gd name="connsiteX4" fmla="*/ 0 w 1619626"/>
                    <a:gd name="connsiteY4" fmla="*/ 967347 h 1907771"/>
                    <a:gd name="connsiteX5" fmla="*/ 405974 w 1619626"/>
                    <a:gd name="connsiteY5" fmla="*/ 2876 h 1907771"/>
                    <a:gd name="connsiteX0" fmla="*/ 405974 w 1619626"/>
                    <a:gd name="connsiteY0" fmla="*/ 2572 h 1907467"/>
                    <a:gd name="connsiteX1" fmla="*/ 1385894 w 1619626"/>
                    <a:gd name="connsiteY1" fmla="*/ 693505 h 1907467"/>
                    <a:gd name="connsiteX2" fmla="*/ 1619626 w 1619626"/>
                    <a:gd name="connsiteY2" fmla="*/ 986889 h 1907467"/>
                    <a:gd name="connsiteX3" fmla="*/ 384531 w 1619626"/>
                    <a:gd name="connsiteY3" fmla="*/ 1904888 h 1907467"/>
                    <a:gd name="connsiteX4" fmla="*/ 0 w 1619626"/>
                    <a:gd name="connsiteY4" fmla="*/ 967043 h 1907467"/>
                    <a:gd name="connsiteX5" fmla="*/ 405974 w 1619626"/>
                    <a:gd name="connsiteY5" fmla="*/ 2572 h 1907467"/>
                    <a:gd name="connsiteX0" fmla="*/ 405974 w 1619626"/>
                    <a:gd name="connsiteY0" fmla="*/ 2088 h 1906983"/>
                    <a:gd name="connsiteX1" fmla="*/ 1385894 w 1619626"/>
                    <a:gd name="connsiteY1" fmla="*/ 693021 h 1906983"/>
                    <a:gd name="connsiteX2" fmla="*/ 1619626 w 1619626"/>
                    <a:gd name="connsiteY2" fmla="*/ 986405 h 1906983"/>
                    <a:gd name="connsiteX3" fmla="*/ 384531 w 1619626"/>
                    <a:gd name="connsiteY3" fmla="*/ 1904404 h 1906983"/>
                    <a:gd name="connsiteX4" fmla="*/ 0 w 1619626"/>
                    <a:gd name="connsiteY4" fmla="*/ 966559 h 1906983"/>
                    <a:gd name="connsiteX5" fmla="*/ 405974 w 1619626"/>
                    <a:gd name="connsiteY5" fmla="*/ 2088 h 1906983"/>
                    <a:gd name="connsiteX0" fmla="*/ 405974 w 1619626"/>
                    <a:gd name="connsiteY0" fmla="*/ 2088 h 1906983"/>
                    <a:gd name="connsiteX1" fmla="*/ 1385894 w 1619626"/>
                    <a:gd name="connsiteY1" fmla="*/ 693021 h 1906983"/>
                    <a:gd name="connsiteX2" fmla="*/ 1619626 w 1619626"/>
                    <a:gd name="connsiteY2" fmla="*/ 986405 h 1906983"/>
                    <a:gd name="connsiteX3" fmla="*/ 384531 w 1619626"/>
                    <a:gd name="connsiteY3" fmla="*/ 1904404 h 1906983"/>
                    <a:gd name="connsiteX4" fmla="*/ 0 w 1619626"/>
                    <a:gd name="connsiteY4" fmla="*/ 966559 h 1906983"/>
                    <a:gd name="connsiteX5" fmla="*/ 405974 w 1619626"/>
                    <a:gd name="connsiteY5" fmla="*/ 2088 h 1906983"/>
                    <a:gd name="connsiteX0" fmla="*/ 405974 w 1619636"/>
                    <a:gd name="connsiteY0" fmla="*/ 0 h 1904895"/>
                    <a:gd name="connsiteX1" fmla="*/ 1619626 w 1619636"/>
                    <a:gd name="connsiteY1" fmla="*/ 984317 h 1904895"/>
                    <a:gd name="connsiteX2" fmla="*/ 384531 w 1619636"/>
                    <a:gd name="connsiteY2" fmla="*/ 1902316 h 1904895"/>
                    <a:gd name="connsiteX3" fmla="*/ 0 w 1619636"/>
                    <a:gd name="connsiteY3" fmla="*/ 964471 h 1904895"/>
                    <a:gd name="connsiteX4" fmla="*/ 405974 w 1619636"/>
                    <a:gd name="connsiteY4" fmla="*/ 0 h 1904895"/>
                    <a:gd name="connsiteX0" fmla="*/ 405974 w 1619626"/>
                    <a:gd name="connsiteY0" fmla="*/ 0 h 1904895"/>
                    <a:gd name="connsiteX1" fmla="*/ 1619626 w 1619626"/>
                    <a:gd name="connsiteY1" fmla="*/ 984317 h 1904895"/>
                    <a:gd name="connsiteX2" fmla="*/ 384531 w 1619626"/>
                    <a:gd name="connsiteY2" fmla="*/ 1902316 h 1904895"/>
                    <a:gd name="connsiteX3" fmla="*/ 0 w 1619626"/>
                    <a:gd name="connsiteY3" fmla="*/ 964471 h 1904895"/>
                    <a:gd name="connsiteX4" fmla="*/ 405974 w 1619626"/>
                    <a:gd name="connsiteY4" fmla="*/ 0 h 1904895"/>
                    <a:gd name="connsiteX0" fmla="*/ 405974 w 1619626"/>
                    <a:gd name="connsiteY0" fmla="*/ 658 h 1905553"/>
                    <a:gd name="connsiteX1" fmla="*/ 1619626 w 1619626"/>
                    <a:gd name="connsiteY1" fmla="*/ 984975 h 1905553"/>
                    <a:gd name="connsiteX2" fmla="*/ 384531 w 1619626"/>
                    <a:gd name="connsiteY2" fmla="*/ 1902974 h 1905553"/>
                    <a:gd name="connsiteX3" fmla="*/ 0 w 1619626"/>
                    <a:gd name="connsiteY3" fmla="*/ 965129 h 1905553"/>
                    <a:gd name="connsiteX4" fmla="*/ 405974 w 1619626"/>
                    <a:gd name="connsiteY4" fmla="*/ 658 h 19055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19626" h="1905553">
                      <a:moveTo>
                        <a:pt x="405974" y="658"/>
                      </a:moveTo>
                      <a:cubicBezTo>
                        <a:pt x="676228" y="-25326"/>
                        <a:pt x="1471945" y="724965"/>
                        <a:pt x="1619626" y="984975"/>
                      </a:cubicBezTo>
                      <a:cubicBezTo>
                        <a:pt x="1458616" y="1184491"/>
                        <a:pt x="556549" y="1955718"/>
                        <a:pt x="384531" y="1902974"/>
                      </a:cubicBezTo>
                      <a:cubicBezTo>
                        <a:pt x="146596" y="1661878"/>
                        <a:pt x="0" y="1330623"/>
                        <a:pt x="0" y="965129"/>
                      </a:cubicBezTo>
                      <a:cubicBezTo>
                        <a:pt x="3574" y="648076"/>
                        <a:pt x="175017" y="136574"/>
                        <a:pt x="405974" y="658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18000">
                      <a:srgbClr val="0E7C06"/>
                    </a:gs>
                    <a:gs pos="67000">
                      <a:srgbClr val="8AD53F"/>
                    </a:gs>
                    <a:gs pos="100000">
                      <a:srgbClr val="BCEB6F"/>
                    </a:gs>
                  </a:gsLst>
                  <a:lin ang="3000000" scaled="0"/>
                  <a:tileRect/>
                </a:gradFill>
                <a:ln w="3175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2" name="椭圆 7"/>
                <p:cNvSpPr/>
                <p:nvPr/>
              </p:nvSpPr>
              <p:spPr>
                <a:xfrm rot="21568550" flipH="1">
                  <a:off x="2559277" y="4633336"/>
                  <a:ext cx="1676789" cy="422245"/>
                </a:xfrm>
                <a:custGeom>
                  <a:avLst/>
                  <a:gdLst>
                    <a:gd name="connsiteX0" fmla="*/ 0 w 2928249"/>
                    <a:gd name="connsiteY0" fmla="*/ 231633 h 463266"/>
                    <a:gd name="connsiteX1" fmla="*/ 1464125 w 2928249"/>
                    <a:gd name="connsiteY1" fmla="*/ 0 h 463266"/>
                    <a:gd name="connsiteX2" fmla="*/ 2928250 w 2928249"/>
                    <a:gd name="connsiteY2" fmla="*/ 231633 h 463266"/>
                    <a:gd name="connsiteX3" fmla="*/ 1464125 w 2928249"/>
                    <a:gd name="connsiteY3" fmla="*/ 463266 h 463266"/>
                    <a:gd name="connsiteX4" fmla="*/ 0 w 2928249"/>
                    <a:gd name="connsiteY4" fmla="*/ 231633 h 463266"/>
                    <a:gd name="connsiteX0" fmla="*/ 0 w 2929907"/>
                    <a:gd name="connsiteY0" fmla="*/ 258751 h 490384"/>
                    <a:gd name="connsiteX1" fmla="*/ 1464125 w 2929907"/>
                    <a:gd name="connsiteY1" fmla="*/ 27118 h 490384"/>
                    <a:gd name="connsiteX2" fmla="*/ 1748570 w 2929907"/>
                    <a:gd name="connsiteY2" fmla="*/ 30462 h 490384"/>
                    <a:gd name="connsiteX3" fmla="*/ 2928250 w 2929907"/>
                    <a:gd name="connsiteY3" fmla="*/ 258751 h 490384"/>
                    <a:gd name="connsiteX4" fmla="*/ 1464125 w 2929907"/>
                    <a:gd name="connsiteY4" fmla="*/ 490384 h 490384"/>
                    <a:gd name="connsiteX5" fmla="*/ 0 w 2929907"/>
                    <a:gd name="connsiteY5" fmla="*/ 258751 h 490384"/>
                    <a:gd name="connsiteX0" fmla="*/ 705 w 2930612"/>
                    <a:gd name="connsiteY0" fmla="*/ 258751 h 516126"/>
                    <a:gd name="connsiteX1" fmla="*/ 1464830 w 2930612"/>
                    <a:gd name="connsiteY1" fmla="*/ 27118 h 516126"/>
                    <a:gd name="connsiteX2" fmla="*/ 1749275 w 2930612"/>
                    <a:gd name="connsiteY2" fmla="*/ 30462 h 516126"/>
                    <a:gd name="connsiteX3" fmla="*/ 2928955 w 2930612"/>
                    <a:gd name="connsiteY3" fmla="*/ 258751 h 516126"/>
                    <a:gd name="connsiteX4" fmla="*/ 1464830 w 2930612"/>
                    <a:gd name="connsiteY4" fmla="*/ 490384 h 516126"/>
                    <a:gd name="connsiteX5" fmla="*/ 1273348 w 2930612"/>
                    <a:gd name="connsiteY5" fmla="*/ 484414 h 516126"/>
                    <a:gd name="connsiteX6" fmla="*/ 705 w 2930612"/>
                    <a:gd name="connsiteY6" fmla="*/ 258751 h 516126"/>
                    <a:gd name="connsiteX0" fmla="*/ 12176 w 1669440"/>
                    <a:gd name="connsiteY0" fmla="*/ 499952 h 546598"/>
                    <a:gd name="connsiteX1" fmla="*/ 203658 w 1669440"/>
                    <a:gd name="connsiteY1" fmla="*/ 42656 h 546598"/>
                    <a:gd name="connsiteX2" fmla="*/ 488103 w 1669440"/>
                    <a:gd name="connsiteY2" fmla="*/ 46000 h 546598"/>
                    <a:gd name="connsiteX3" fmla="*/ 1667783 w 1669440"/>
                    <a:gd name="connsiteY3" fmla="*/ 274289 h 546598"/>
                    <a:gd name="connsiteX4" fmla="*/ 203658 w 1669440"/>
                    <a:gd name="connsiteY4" fmla="*/ 505922 h 546598"/>
                    <a:gd name="connsiteX5" fmla="*/ 12176 w 1669440"/>
                    <a:gd name="connsiteY5" fmla="*/ 499952 h 546598"/>
                    <a:gd name="connsiteX0" fmla="*/ 0 w 1657264"/>
                    <a:gd name="connsiteY0" fmla="*/ 499952 h 514253"/>
                    <a:gd name="connsiteX1" fmla="*/ 191482 w 1657264"/>
                    <a:gd name="connsiteY1" fmla="*/ 42656 h 514253"/>
                    <a:gd name="connsiteX2" fmla="*/ 475927 w 1657264"/>
                    <a:gd name="connsiteY2" fmla="*/ 46000 h 514253"/>
                    <a:gd name="connsiteX3" fmla="*/ 1655607 w 1657264"/>
                    <a:gd name="connsiteY3" fmla="*/ 274289 h 514253"/>
                    <a:gd name="connsiteX4" fmla="*/ 191482 w 1657264"/>
                    <a:gd name="connsiteY4" fmla="*/ 505922 h 514253"/>
                    <a:gd name="connsiteX5" fmla="*/ 0 w 1657264"/>
                    <a:gd name="connsiteY5" fmla="*/ 499952 h 514253"/>
                    <a:gd name="connsiteX0" fmla="*/ 18837 w 1676101"/>
                    <a:gd name="connsiteY0" fmla="*/ 499952 h 549819"/>
                    <a:gd name="connsiteX1" fmla="*/ 210319 w 1676101"/>
                    <a:gd name="connsiteY1" fmla="*/ 42656 h 549819"/>
                    <a:gd name="connsiteX2" fmla="*/ 494764 w 1676101"/>
                    <a:gd name="connsiteY2" fmla="*/ 46000 h 549819"/>
                    <a:gd name="connsiteX3" fmla="*/ 1674444 w 1676101"/>
                    <a:gd name="connsiteY3" fmla="*/ 274289 h 549819"/>
                    <a:gd name="connsiteX4" fmla="*/ 210319 w 1676101"/>
                    <a:gd name="connsiteY4" fmla="*/ 505922 h 549819"/>
                    <a:gd name="connsiteX5" fmla="*/ 18837 w 1676101"/>
                    <a:gd name="connsiteY5" fmla="*/ 499952 h 549819"/>
                    <a:gd name="connsiteX0" fmla="*/ 0 w 1657264"/>
                    <a:gd name="connsiteY0" fmla="*/ 499952 h 534471"/>
                    <a:gd name="connsiteX1" fmla="*/ 191482 w 1657264"/>
                    <a:gd name="connsiteY1" fmla="*/ 42656 h 534471"/>
                    <a:gd name="connsiteX2" fmla="*/ 475927 w 1657264"/>
                    <a:gd name="connsiteY2" fmla="*/ 46000 h 534471"/>
                    <a:gd name="connsiteX3" fmla="*/ 1655607 w 1657264"/>
                    <a:gd name="connsiteY3" fmla="*/ 274289 h 534471"/>
                    <a:gd name="connsiteX4" fmla="*/ 191482 w 1657264"/>
                    <a:gd name="connsiteY4" fmla="*/ 505922 h 534471"/>
                    <a:gd name="connsiteX5" fmla="*/ 0 w 1657264"/>
                    <a:gd name="connsiteY5" fmla="*/ 499952 h 534471"/>
                    <a:gd name="connsiteX0" fmla="*/ 0 w 1657264"/>
                    <a:gd name="connsiteY0" fmla="*/ 453952 h 488471"/>
                    <a:gd name="connsiteX1" fmla="*/ 475927 w 1657264"/>
                    <a:gd name="connsiteY1" fmla="*/ 0 h 488471"/>
                    <a:gd name="connsiteX2" fmla="*/ 1655607 w 1657264"/>
                    <a:gd name="connsiteY2" fmla="*/ 228289 h 488471"/>
                    <a:gd name="connsiteX3" fmla="*/ 191482 w 1657264"/>
                    <a:gd name="connsiteY3" fmla="*/ 459922 h 488471"/>
                    <a:gd name="connsiteX4" fmla="*/ 0 w 1657264"/>
                    <a:gd name="connsiteY4" fmla="*/ 453952 h 488471"/>
                    <a:gd name="connsiteX0" fmla="*/ 0 w 1657264"/>
                    <a:gd name="connsiteY0" fmla="*/ 453952 h 488471"/>
                    <a:gd name="connsiteX1" fmla="*/ 475927 w 1657264"/>
                    <a:gd name="connsiteY1" fmla="*/ 0 h 488471"/>
                    <a:gd name="connsiteX2" fmla="*/ 1655607 w 1657264"/>
                    <a:gd name="connsiteY2" fmla="*/ 228289 h 488471"/>
                    <a:gd name="connsiteX3" fmla="*/ 191482 w 1657264"/>
                    <a:gd name="connsiteY3" fmla="*/ 459922 h 488471"/>
                    <a:gd name="connsiteX4" fmla="*/ 0 w 1657264"/>
                    <a:gd name="connsiteY4" fmla="*/ 453952 h 488471"/>
                    <a:gd name="connsiteX0" fmla="*/ 224293 w 1881557"/>
                    <a:gd name="connsiteY0" fmla="*/ 453952 h 669400"/>
                    <a:gd name="connsiteX1" fmla="*/ 700220 w 1881557"/>
                    <a:gd name="connsiteY1" fmla="*/ 0 h 669400"/>
                    <a:gd name="connsiteX2" fmla="*/ 1879900 w 1881557"/>
                    <a:gd name="connsiteY2" fmla="*/ 228289 h 669400"/>
                    <a:gd name="connsiteX3" fmla="*/ 415775 w 1881557"/>
                    <a:gd name="connsiteY3" fmla="*/ 459922 h 669400"/>
                    <a:gd name="connsiteX4" fmla="*/ 224293 w 1881557"/>
                    <a:gd name="connsiteY4" fmla="*/ 453952 h 669400"/>
                    <a:gd name="connsiteX0" fmla="*/ 3267 w 1660531"/>
                    <a:gd name="connsiteY0" fmla="*/ 453952 h 473844"/>
                    <a:gd name="connsiteX1" fmla="*/ 479194 w 1660531"/>
                    <a:gd name="connsiteY1" fmla="*/ 0 h 473844"/>
                    <a:gd name="connsiteX2" fmla="*/ 1658874 w 1660531"/>
                    <a:gd name="connsiteY2" fmla="*/ 228289 h 473844"/>
                    <a:gd name="connsiteX3" fmla="*/ 194749 w 1660531"/>
                    <a:gd name="connsiteY3" fmla="*/ 459922 h 473844"/>
                    <a:gd name="connsiteX4" fmla="*/ 3267 w 1660531"/>
                    <a:gd name="connsiteY4" fmla="*/ 453952 h 473844"/>
                    <a:gd name="connsiteX0" fmla="*/ 3267 w 1663904"/>
                    <a:gd name="connsiteY0" fmla="*/ 453952 h 473844"/>
                    <a:gd name="connsiteX1" fmla="*/ 479194 w 1663904"/>
                    <a:gd name="connsiteY1" fmla="*/ 0 h 473844"/>
                    <a:gd name="connsiteX2" fmla="*/ 1658874 w 1663904"/>
                    <a:gd name="connsiteY2" fmla="*/ 228289 h 473844"/>
                    <a:gd name="connsiteX3" fmla="*/ 194749 w 1663904"/>
                    <a:gd name="connsiteY3" fmla="*/ 459922 h 473844"/>
                    <a:gd name="connsiteX4" fmla="*/ 3267 w 1663904"/>
                    <a:gd name="connsiteY4" fmla="*/ 453952 h 473844"/>
                    <a:gd name="connsiteX0" fmla="*/ 3267 w 1663904"/>
                    <a:gd name="connsiteY0" fmla="*/ 453952 h 473844"/>
                    <a:gd name="connsiteX1" fmla="*/ 479194 w 1663904"/>
                    <a:gd name="connsiteY1" fmla="*/ 0 h 473844"/>
                    <a:gd name="connsiteX2" fmla="*/ 1658874 w 1663904"/>
                    <a:gd name="connsiteY2" fmla="*/ 228289 h 473844"/>
                    <a:gd name="connsiteX3" fmla="*/ 194749 w 1663904"/>
                    <a:gd name="connsiteY3" fmla="*/ 459922 h 473844"/>
                    <a:gd name="connsiteX4" fmla="*/ 3267 w 1663904"/>
                    <a:gd name="connsiteY4" fmla="*/ 453952 h 473844"/>
                    <a:gd name="connsiteX0" fmla="*/ 3267 w 1664010"/>
                    <a:gd name="connsiteY0" fmla="*/ 453952 h 473844"/>
                    <a:gd name="connsiteX1" fmla="*/ 479194 w 1664010"/>
                    <a:gd name="connsiteY1" fmla="*/ 0 h 473844"/>
                    <a:gd name="connsiteX2" fmla="*/ 1658874 w 1664010"/>
                    <a:gd name="connsiteY2" fmla="*/ 228289 h 473844"/>
                    <a:gd name="connsiteX3" fmla="*/ 194749 w 1664010"/>
                    <a:gd name="connsiteY3" fmla="*/ 459922 h 473844"/>
                    <a:gd name="connsiteX4" fmla="*/ 3267 w 1664010"/>
                    <a:gd name="connsiteY4" fmla="*/ 453952 h 473844"/>
                    <a:gd name="connsiteX0" fmla="*/ 6523 w 1667266"/>
                    <a:gd name="connsiteY0" fmla="*/ 453952 h 476761"/>
                    <a:gd name="connsiteX1" fmla="*/ 482450 w 1667266"/>
                    <a:gd name="connsiteY1" fmla="*/ 0 h 476761"/>
                    <a:gd name="connsiteX2" fmla="*/ 1662130 w 1667266"/>
                    <a:gd name="connsiteY2" fmla="*/ 228289 h 476761"/>
                    <a:gd name="connsiteX3" fmla="*/ 198005 w 1667266"/>
                    <a:gd name="connsiteY3" fmla="*/ 459922 h 476761"/>
                    <a:gd name="connsiteX4" fmla="*/ 6523 w 1667266"/>
                    <a:gd name="connsiteY4" fmla="*/ 453952 h 476761"/>
                    <a:gd name="connsiteX0" fmla="*/ 101748 w 1760999"/>
                    <a:gd name="connsiteY0" fmla="*/ 432913 h 455722"/>
                    <a:gd name="connsiteX1" fmla="*/ 142791 w 1760999"/>
                    <a:gd name="connsiteY1" fmla="*/ 0 h 455722"/>
                    <a:gd name="connsiteX2" fmla="*/ 1757355 w 1760999"/>
                    <a:gd name="connsiteY2" fmla="*/ 207250 h 455722"/>
                    <a:gd name="connsiteX3" fmla="*/ 293230 w 1760999"/>
                    <a:gd name="connsiteY3" fmla="*/ 438883 h 455722"/>
                    <a:gd name="connsiteX4" fmla="*/ 101748 w 1760999"/>
                    <a:gd name="connsiteY4" fmla="*/ 432913 h 455722"/>
                    <a:gd name="connsiteX0" fmla="*/ 101748 w 1762193"/>
                    <a:gd name="connsiteY0" fmla="*/ 438060 h 460869"/>
                    <a:gd name="connsiteX1" fmla="*/ 142791 w 1762193"/>
                    <a:gd name="connsiteY1" fmla="*/ 5147 h 460869"/>
                    <a:gd name="connsiteX2" fmla="*/ 1757355 w 1762193"/>
                    <a:gd name="connsiteY2" fmla="*/ 212397 h 460869"/>
                    <a:gd name="connsiteX3" fmla="*/ 293230 w 1762193"/>
                    <a:gd name="connsiteY3" fmla="*/ 444030 h 460869"/>
                    <a:gd name="connsiteX4" fmla="*/ 101748 w 1762193"/>
                    <a:gd name="connsiteY4" fmla="*/ 438060 h 460869"/>
                    <a:gd name="connsiteX0" fmla="*/ 6524 w 1666969"/>
                    <a:gd name="connsiteY0" fmla="*/ 438060 h 460869"/>
                    <a:gd name="connsiteX1" fmla="*/ 47567 w 1666969"/>
                    <a:gd name="connsiteY1" fmla="*/ 5147 h 460869"/>
                    <a:gd name="connsiteX2" fmla="*/ 1662131 w 1666969"/>
                    <a:gd name="connsiteY2" fmla="*/ 212397 h 460869"/>
                    <a:gd name="connsiteX3" fmla="*/ 198006 w 1666969"/>
                    <a:gd name="connsiteY3" fmla="*/ 444030 h 460869"/>
                    <a:gd name="connsiteX4" fmla="*/ 6524 w 1666969"/>
                    <a:gd name="connsiteY4" fmla="*/ 438060 h 460869"/>
                    <a:gd name="connsiteX0" fmla="*/ 11141 w 1671586"/>
                    <a:gd name="connsiteY0" fmla="*/ 438060 h 588252"/>
                    <a:gd name="connsiteX1" fmla="*/ 52184 w 1671586"/>
                    <a:gd name="connsiteY1" fmla="*/ 5147 h 588252"/>
                    <a:gd name="connsiteX2" fmla="*/ 1666748 w 1671586"/>
                    <a:gd name="connsiteY2" fmla="*/ 212397 h 588252"/>
                    <a:gd name="connsiteX3" fmla="*/ 202623 w 1671586"/>
                    <a:gd name="connsiteY3" fmla="*/ 444030 h 588252"/>
                    <a:gd name="connsiteX4" fmla="*/ 11141 w 1671586"/>
                    <a:gd name="connsiteY4" fmla="*/ 438060 h 588252"/>
                    <a:gd name="connsiteX0" fmla="*/ 7996 w 1668441"/>
                    <a:gd name="connsiteY0" fmla="*/ 438060 h 458982"/>
                    <a:gd name="connsiteX1" fmla="*/ 49039 w 1668441"/>
                    <a:gd name="connsiteY1" fmla="*/ 5147 h 458982"/>
                    <a:gd name="connsiteX2" fmla="*/ 1663603 w 1668441"/>
                    <a:gd name="connsiteY2" fmla="*/ 212397 h 458982"/>
                    <a:gd name="connsiteX3" fmla="*/ 199478 w 1668441"/>
                    <a:gd name="connsiteY3" fmla="*/ 444030 h 458982"/>
                    <a:gd name="connsiteX4" fmla="*/ 7996 w 1668441"/>
                    <a:gd name="connsiteY4" fmla="*/ 438060 h 458982"/>
                    <a:gd name="connsiteX0" fmla="*/ 3851 w 1664296"/>
                    <a:gd name="connsiteY0" fmla="*/ 438060 h 586678"/>
                    <a:gd name="connsiteX1" fmla="*/ 44894 w 1664296"/>
                    <a:gd name="connsiteY1" fmla="*/ 5147 h 586678"/>
                    <a:gd name="connsiteX2" fmla="*/ 1659458 w 1664296"/>
                    <a:gd name="connsiteY2" fmla="*/ 212397 h 586678"/>
                    <a:gd name="connsiteX3" fmla="*/ 195333 w 1664296"/>
                    <a:gd name="connsiteY3" fmla="*/ 444030 h 586678"/>
                    <a:gd name="connsiteX4" fmla="*/ 3851 w 1664296"/>
                    <a:gd name="connsiteY4" fmla="*/ 438060 h 586678"/>
                    <a:gd name="connsiteX0" fmla="*/ 12308 w 1672753"/>
                    <a:gd name="connsiteY0" fmla="*/ 438060 h 463588"/>
                    <a:gd name="connsiteX1" fmla="*/ 53351 w 1672753"/>
                    <a:gd name="connsiteY1" fmla="*/ 5147 h 463588"/>
                    <a:gd name="connsiteX2" fmla="*/ 1667915 w 1672753"/>
                    <a:gd name="connsiteY2" fmla="*/ 212397 h 463588"/>
                    <a:gd name="connsiteX3" fmla="*/ 203790 w 1672753"/>
                    <a:gd name="connsiteY3" fmla="*/ 444030 h 463588"/>
                    <a:gd name="connsiteX4" fmla="*/ 12308 w 1672753"/>
                    <a:gd name="connsiteY4" fmla="*/ 438060 h 463588"/>
                    <a:gd name="connsiteX0" fmla="*/ 12389 w 1672834"/>
                    <a:gd name="connsiteY0" fmla="*/ 438060 h 458999"/>
                    <a:gd name="connsiteX1" fmla="*/ 53432 w 1672834"/>
                    <a:gd name="connsiteY1" fmla="*/ 5147 h 458999"/>
                    <a:gd name="connsiteX2" fmla="*/ 1667996 w 1672834"/>
                    <a:gd name="connsiteY2" fmla="*/ 212397 h 458999"/>
                    <a:gd name="connsiteX3" fmla="*/ 203871 w 1672834"/>
                    <a:gd name="connsiteY3" fmla="*/ 444030 h 458999"/>
                    <a:gd name="connsiteX4" fmla="*/ 12389 w 1672834"/>
                    <a:gd name="connsiteY4" fmla="*/ 438060 h 458999"/>
                    <a:gd name="connsiteX0" fmla="*/ 8954 w 1682754"/>
                    <a:gd name="connsiteY0" fmla="*/ 441583 h 460036"/>
                    <a:gd name="connsiteX1" fmla="*/ 63352 w 1682754"/>
                    <a:gd name="connsiteY1" fmla="*/ 5147 h 460036"/>
                    <a:gd name="connsiteX2" fmla="*/ 1677916 w 1682754"/>
                    <a:gd name="connsiteY2" fmla="*/ 212397 h 460036"/>
                    <a:gd name="connsiteX3" fmla="*/ 213791 w 1682754"/>
                    <a:gd name="connsiteY3" fmla="*/ 444030 h 460036"/>
                    <a:gd name="connsiteX4" fmla="*/ 8954 w 1682754"/>
                    <a:gd name="connsiteY4" fmla="*/ 441583 h 460036"/>
                    <a:gd name="connsiteX0" fmla="*/ 10648 w 1684448"/>
                    <a:gd name="connsiteY0" fmla="*/ 441583 h 592425"/>
                    <a:gd name="connsiteX1" fmla="*/ 65046 w 1684448"/>
                    <a:gd name="connsiteY1" fmla="*/ 5147 h 592425"/>
                    <a:gd name="connsiteX2" fmla="*/ 1679610 w 1684448"/>
                    <a:gd name="connsiteY2" fmla="*/ 212397 h 592425"/>
                    <a:gd name="connsiteX3" fmla="*/ 215485 w 1684448"/>
                    <a:gd name="connsiteY3" fmla="*/ 444030 h 592425"/>
                    <a:gd name="connsiteX4" fmla="*/ 10648 w 1684448"/>
                    <a:gd name="connsiteY4" fmla="*/ 441583 h 592425"/>
                    <a:gd name="connsiteX0" fmla="*/ 0 w 1673800"/>
                    <a:gd name="connsiteY0" fmla="*/ 441583 h 474951"/>
                    <a:gd name="connsiteX1" fmla="*/ 54398 w 1673800"/>
                    <a:gd name="connsiteY1" fmla="*/ 5147 h 474951"/>
                    <a:gd name="connsiteX2" fmla="*/ 1668962 w 1673800"/>
                    <a:gd name="connsiteY2" fmla="*/ 212397 h 474951"/>
                    <a:gd name="connsiteX3" fmla="*/ 204837 w 1673800"/>
                    <a:gd name="connsiteY3" fmla="*/ 444030 h 474951"/>
                    <a:gd name="connsiteX4" fmla="*/ 0 w 1673800"/>
                    <a:gd name="connsiteY4" fmla="*/ 441583 h 474951"/>
                    <a:gd name="connsiteX0" fmla="*/ 0 w 1673800"/>
                    <a:gd name="connsiteY0" fmla="*/ 441583 h 466557"/>
                    <a:gd name="connsiteX1" fmla="*/ 54398 w 1673800"/>
                    <a:gd name="connsiteY1" fmla="*/ 5147 h 466557"/>
                    <a:gd name="connsiteX2" fmla="*/ 1668962 w 1673800"/>
                    <a:gd name="connsiteY2" fmla="*/ 212397 h 466557"/>
                    <a:gd name="connsiteX3" fmla="*/ 204837 w 1673800"/>
                    <a:gd name="connsiteY3" fmla="*/ 444030 h 466557"/>
                    <a:gd name="connsiteX4" fmla="*/ 0 w 1673800"/>
                    <a:gd name="connsiteY4" fmla="*/ 441583 h 466557"/>
                    <a:gd name="connsiteX0" fmla="*/ 0 w 1673800"/>
                    <a:gd name="connsiteY0" fmla="*/ 441583 h 465621"/>
                    <a:gd name="connsiteX1" fmla="*/ 54398 w 1673800"/>
                    <a:gd name="connsiteY1" fmla="*/ 5147 h 465621"/>
                    <a:gd name="connsiteX2" fmla="*/ 1668962 w 1673800"/>
                    <a:gd name="connsiteY2" fmla="*/ 212397 h 465621"/>
                    <a:gd name="connsiteX3" fmla="*/ 204837 w 1673800"/>
                    <a:gd name="connsiteY3" fmla="*/ 444030 h 465621"/>
                    <a:gd name="connsiteX4" fmla="*/ 0 w 1673800"/>
                    <a:gd name="connsiteY4" fmla="*/ 441583 h 465621"/>
                    <a:gd name="connsiteX0" fmla="*/ 0 w 1673800"/>
                    <a:gd name="connsiteY0" fmla="*/ 441583 h 462319"/>
                    <a:gd name="connsiteX1" fmla="*/ 54398 w 1673800"/>
                    <a:gd name="connsiteY1" fmla="*/ 5147 h 462319"/>
                    <a:gd name="connsiteX2" fmla="*/ 1668962 w 1673800"/>
                    <a:gd name="connsiteY2" fmla="*/ 212397 h 462319"/>
                    <a:gd name="connsiteX3" fmla="*/ 204837 w 1673800"/>
                    <a:gd name="connsiteY3" fmla="*/ 444030 h 462319"/>
                    <a:gd name="connsiteX4" fmla="*/ 0 w 1673800"/>
                    <a:gd name="connsiteY4" fmla="*/ 441583 h 462319"/>
                    <a:gd name="connsiteX0" fmla="*/ 0 w 1673800"/>
                    <a:gd name="connsiteY0" fmla="*/ 441583 h 466565"/>
                    <a:gd name="connsiteX1" fmla="*/ 54398 w 1673800"/>
                    <a:gd name="connsiteY1" fmla="*/ 5147 h 466565"/>
                    <a:gd name="connsiteX2" fmla="*/ 1668962 w 1673800"/>
                    <a:gd name="connsiteY2" fmla="*/ 212397 h 466565"/>
                    <a:gd name="connsiteX3" fmla="*/ 204837 w 1673800"/>
                    <a:gd name="connsiteY3" fmla="*/ 444030 h 466565"/>
                    <a:gd name="connsiteX4" fmla="*/ 0 w 1673800"/>
                    <a:gd name="connsiteY4" fmla="*/ 441583 h 466565"/>
                    <a:gd name="connsiteX0" fmla="*/ 0 w 1673800"/>
                    <a:gd name="connsiteY0" fmla="*/ 441583 h 466601"/>
                    <a:gd name="connsiteX1" fmla="*/ 54398 w 1673800"/>
                    <a:gd name="connsiteY1" fmla="*/ 5147 h 466601"/>
                    <a:gd name="connsiteX2" fmla="*/ 1668962 w 1673800"/>
                    <a:gd name="connsiteY2" fmla="*/ 212397 h 466601"/>
                    <a:gd name="connsiteX3" fmla="*/ 204837 w 1673800"/>
                    <a:gd name="connsiteY3" fmla="*/ 444030 h 466601"/>
                    <a:gd name="connsiteX4" fmla="*/ 0 w 1673800"/>
                    <a:gd name="connsiteY4" fmla="*/ 441583 h 466601"/>
                    <a:gd name="connsiteX0" fmla="*/ 0 w 1673800"/>
                    <a:gd name="connsiteY0" fmla="*/ 441583 h 446462"/>
                    <a:gd name="connsiteX1" fmla="*/ 54398 w 1673800"/>
                    <a:gd name="connsiteY1" fmla="*/ 5147 h 446462"/>
                    <a:gd name="connsiteX2" fmla="*/ 1668962 w 1673800"/>
                    <a:gd name="connsiteY2" fmla="*/ 212397 h 446462"/>
                    <a:gd name="connsiteX3" fmla="*/ 204837 w 1673800"/>
                    <a:gd name="connsiteY3" fmla="*/ 444030 h 446462"/>
                    <a:gd name="connsiteX4" fmla="*/ 0 w 1673800"/>
                    <a:gd name="connsiteY4" fmla="*/ 441583 h 446462"/>
                    <a:gd name="connsiteX0" fmla="*/ 0 w 1673800"/>
                    <a:gd name="connsiteY0" fmla="*/ 441583 h 449793"/>
                    <a:gd name="connsiteX1" fmla="*/ 54398 w 1673800"/>
                    <a:gd name="connsiteY1" fmla="*/ 5147 h 449793"/>
                    <a:gd name="connsiteX2" fmla="*/ 1668962 w 1673800"/>
                    <a:gd name="connsiteY2" fmla="*/ 212397 h 449793"/>
                    <a:gd name="connsiteX3" fmla="*/ 204837 w 1673800"/>
                    <a:gd name="connsiteY3" fmla="*/ 444030 h 449793"/>
                    <a:gd name="connsiteX4" fmla="*/ 0 w 1673800"/>
                    <a:gd name="connsiteY4" fmla="*/ 441583 h 449793"/>
                    <a:gd name="connsiteX0" fmla="*/ 0 w 1673800"/>
                    <a:gd name="connsiteY0" fmla="*/ 441583 h 449793"/>
                    <a:gd name="connsiteX1" fmla="*/ 54398 w 1673800"/>
                    <a:gd name="connsiteY1" fmla="*/ 5147 h 449793"/>
                    <a:gd name="connsiteX2" fmla="*/ 1668962 w 1673800"/>
                    <a:gd name="connsiteY2" fmla="*/ 212397 h 449793"/>
                    <a:gd name="connsiteX3" fmla="*/ 408737 w 1673800"/>
                    <a:gd name="connsiteY3" fmla="*/ 427692 h 449793"/>
                    <a:gd name="connsiteX4" fmla="*/ 204837 w 1673800"/>
                    <a:gd name="connsiteY4" fmla="*/ 444030 h 449793"/>
                    <a:gd name="connsiteX5" fmla="*/ 0 w 1673800"/>
                    <a:gd name="connsiteY5" fmla="*/ 441583 h 449793"/>
                    <a:gd name="connsiteX0" fmla="*/ 0 w 1673800"/>
                    <a:gd name="connsiteY0" fmla="*/ 441583 h 478210"/>
                    <a:gd name="connsiteX1" fmla="*/ 54398 w 1673800"/>
                    <a:gd name="connsiteY1" fmla="*/ 5147 h 478210"/>
                    <a:gd name="connsiteX2" fmla="*/ 1668962 w 1673800"/>
                    <a:gd name="connsiteY2" fmla="*/ 212397 h 478210"/>
                    <a:gd name="connsiteX3" fmla="*/ 408737 w 1673800"/>
                    <a:gd name="connsiteY3" fmla="*/ 427692 h 478210"/>
                    <a:gd name="connsiteX4" fmla="*/ 0 w 1673800"/>
                    <a:gd name="connsiteY4" fmla="*/ 441583 h 478210"/>
                    <a:gd name="connsiteX0" fmla="*/ 425601 w 1690664"/>
                    <a:gd name="connsiteY0" fmla="*/ 427692 h 427692"/>
                    <a:gd name="connsiteX1" fmla="*/ 71262 w 1690664"/>
                    <a:gd name="connsiteY1" fmla="*/ 5147 h 427692"/>
                    <a:gd name="connsiteX2" fmla="*/ 1685826 w 1690664"/>
                    <a:gd name="connsiteY2" fmla="*/ 212397 h 427692"/>
                    <a:gd name="connsiteX3" fmla="*/ 425601 w 1690664"/>
                    <a:gd name="connsiteY3" fmla="*/ 427692 h 427692"/>
                    <a:gd name="connsiteX0" fmla="*/ 354339 w 1619402"/>
                    <a:gd name="connsiteY0" fmla="*/ 427692 h 427692"/>
                    <a:gd name="connsiteX1" fmla="*/ 0 w 1619402"/>
                    <a:gd name="connsiteY1" fmla="*/ 5147 h 427692"/>
                    <a:gd name="connsiteX2" fmla="*/ 1614564 w 1619402"/>
                    <a:gd name="connsiteY2" fmla="*/ 212397 h 427692"/>
                    <a:gd name="connsiteX3" fmla="*/ 354339 w 1619402"/>
                    <a:gd name="connsiteY3" fmla="*/ 427692 h 427692"/>
                    <a:gd name="connsiteX0" fmla="*/ 354339 w 1619402"/>
                    <a:gd name="connsiteY0" fmla="*/ 427692 h 427692"/>
                    <a:gd name="connsiteX1" fmla="*/ 0 w 1619402"/>
                    <a:gd name="connsiteY1" fmla="*/ 5147 h 427692"/>
                    <a:gd name="connsiteX2" fmla="*/ 1614564 w 1619402"/>
                    <a:gd name="connsiteY2" fmla="*/ 212397 h 427692"/>
                    <a:gd name="connsiteX3" fmla="*/ 354339 w 1619402"/>
                    <a:gd name="connsiteY3" fmla="*/ 427692 h 427692"/>
                    <a:gd name="connsiteX0" fmla="*/ 385877 w 1650809"/>
                    <a:gd name="connsiteY0" fmla="*/ 422245 h 422245"/>
                    <a:gd name="connsiteX1" fmla="*/ 0 w 1650809"/>
                    <a:gd name="connsiteY1" fmla="*/ 5341 h 422245"/>
                    <a:gd name="connsiteX2" fmla="*/ 1646102 w 1650809"/>
                    <a:gd name="connsiteY2" fmla="*/ 206950 h 422245"/>
                    <a:gd name="connsiteX3" fmla="*/ 385877 w 1650809"/>
                    <a:gd name="connsiteY3" fmla="*/ 422245 h 4222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50809" h="422245">
                      <a:moveTo>
                        <a:pt x="385877" y="422245"/>
                      </a:moveTo>
                      <a:cubicBezTo>
                        <a:pt x="45216" y="40775"/>
                        <a:pt x="335749" y="431874"/>
                        <a:pt x="0" y="5341"/>
                      </a:cubicBezTo>
                      <a:cubicBezTo>
                        <a:pt x="641076" y="-26793"/>
                        <a:pt x="1731259" y="91849"/>
                        <a:pt x="1646102" y="206950"/>
                      </a:cubicBezTo>
                      <a:cubicBezTo>
                        <a:pt x="1705159" y="277374"/>
                        <a:pt x="629898" y="383640"/>
                        <a:pt x="385877" y="422245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18000">
                      <a:srgbClr val="0E7C06"/>
                    </a:gs>
                    <a:gs pos="67000">
                      <a:srgbClr val="8AD53F"/>
                    </a:gs>
                    <a:gs pos="100000">
                      <a:srgbClr val="BCEB6F"/>
                    </a:gs>
                  </a:gsLst>
                  <a:lin ang="15600000" scaled="0"/>
                  <a:tileRect/>
                </a:gradFill>
                <a:ln w="3175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50" name="椭圆 30"/>
              <p:cNvSpPr/>
              <p:nvPr/>
            </p:nvSpPr>
            <p:spPr>
              <a:xfrm>
                <a:off x="2208561" y="4257431"/>
                <a:ext cx="422501" cy="1684866"/>
              </a:xfrm>
              <a:custGeom>
                <a:avLst/>
                <a:gdLst>
                  <a:gd name="connsiteX0" fmla="*/ 0 w 417418"/>
                  <a:gd name="connsiteY0" fmla="*/ 1314463 h 2628925"/>
                  <a:gd name="connsiteX1" fmla="*/ 208709 w 417418"/>
                  <a:gd name="connsiteY1" fmla="*/ 0 h 2628925"/>
                  <a:gd name="connsiteX2" fmla="*/ 417418 w 417418"/>
                  <a:gd name="connsiteY2" fmla="*/ 1314463 h 2628925"/>
                  <a:gd name="connsiteX3" fmla="*/ 208709 w 417418"/>
                  <a:gd name="connsiteY3" fmla="*/ 2628926 h 2628925"/>
                  <a:gd name="connsiteX4" fmla="*/ 0 w 417418"/>
                  <a:gd name="connsiteY4" fmla="*/ 1314463 h 2628925"/>
                  <a:gd name="connsiteX0" fmla="*/ 0 w 437992"/>
                  <a:gd name="connsiteY0" fmla="*/ 1317902 h 2632365"/>
                  <a:gd name="connsiteX1" fmla="*/ 208709 w 437992"/>
                  <a:gd name="connsiteY1" fmla="*/ 3439 h 2632365"/>
                  <a:gd name="connsiteX2" fmla="*/ 406671 w 437992"/>
                  <a:gd name="connsiteY2" fmla="*/ 947543 h 2632365"/>
                  <a:gd name="connsiteX3" fmla="*/ 417418 w 437992"/>
                  <a:gd name="connsiteY3" fmla="*/ 1317902 h 2632365"/>
                  <a:gd name="connsiteX4" fmla="*/ 208709 w 437992"/>
                  <a:gd name="connsiteY4" fmla="*/ 2632365 h 2632365"/>
                  <a:gd name="connsiteX5" fmla="*/ 0 w 437992"/>
                  <a:gd name="connsiteY5" fmla="*/ 1317902 h 2632365"/>
                  <a:gd name="connsiteX0" fmla="*/ 0 w 430693"/>
                  <a:gd name="connsiteY0" fmla="*/ 1317902 h 2632365"/>
                  <a:gd name="connsiteX1" fmla="*/ 208709 w 430693"/>
                  <a:gd name="connsiteY1" fmla="*/ 3439 h 2632365"/>
                  <a:gd name="connsiteX2" fmla="*/ 406671 w 430693"/>
                  <a:gd name="connsiteY2" fmla="*/ 947543 h 2632365"/>
                  <a:gd name="connsiteX3" fmla="*/ 417418 w 430693"/>
                  <a:gd name="connsiteY3" fmla="*/ 1317902 h 2632365"/>
                  <a:gd name="connsiteX4" fmla="*/ 208709 w 430693"/>
                  <a:gd name="connsiteY4" fmla="*/ 2632365 h 2632365"/>
                  <a:gd name="connsiteX5" fmla="*/ 0 w 430693"/>
                  <a:gd name="connsiteY5" fmla="*/ 1317902 h 2632365"/>
                  <a:gd name="connsiteX0" fmla="*/ 0 w 417418"/>
                  <a:gd name="connsiteY0" fmla="*/ 1317902 h 2632365"/>
                  <a:gd name="connsiteX1" fmla="*/ 208709 w 417418"/>
                  <a:gd name="connsiteY1" fmla="*/ 3439 h 2632365"/>
                  <a:gd name="connsiteX2" fmla="*/ 406671 w 417418"/>
                  <a:gd name="connsiteY2" fmla="*/ 947543 h 2632365"/>
                  <a:gd name="connsiteX3" fmla="*/ 417418 w 417418"/>
                  <a:gd name="connsiteY3" fmla="*/ 1317902 h 2632365"/>
                  <a:gd name="connsiteX4" fmla="*/ 208709 w 417418"/>
                  <a:gd name="connsiteY4" fmla="*/ 2632365 h 2632365"/>
                  <a:gd name="connsiteX5" fmla="*/ 0 w 417418"/>
                  <a:gd name="connsiteY5" fmla="*/ 1317902 h 2632365"/>
                  <a:gd name="connsiteX0" fmla="*/ 0 w 417418"/>
                  <a:gd name="connsiteY0" fmla="*/ 370359 h 1684822"/>
                  <a:gd name="connsiteX1" fmla="*/ 406671 w 417418"/>
                  <a:gd name="connsiteY1" fmla="*/ 0 h 1684822"/>
                  <a:gd name="connsiteX2" fmla="*/ 417418 w 417418"/>
                  <a:gd name="connsiteY2" fmla="*/ 370359 h 1684822"/>
                  <a:gd name="connsiteX3" fmla="*/ 208709 w 417418"/>
                  <a:gd name="connsiteY3" fmla="*/ 1684822 h 1684822"/>
                  <a:gd name="connsiteX4" fmla="*/ 0 w 417418"/>
                  <a:gd name="connsiteY4" fmla="*/ 370359 h 1684822"/>
                  <a:gd name="connsiteX0" fmla="*/ 0 w 417418"/>
                  <a:gd name="connsiteY0" fmla="*/ 370359 h 1684822"/>
                  <a:gd name="connsiteX1" fmla="*/ 406671 w 417418"/>
                  <a:gd name="connsiteY1" fmla="*/ 0 h 1684822"/>
                  <a:gd name="connsiteX2" fmla="*/ 417418 w 417418"/>
                  <a:gd name="connsiteY2" fmla="*/ 370359 h 1684822"/>
                  <a:gd name="connsiteX3" fmla="*/ 208709 w 417418"/>
                  <a:gd name="connsiteY3" fmla="*/ 1684822 h 1684822"/>
                  <a:gd name="connsiteX4" fmla="*/ 0 w 417418"/>
                  <a:gd name="connsiteY4" fmla="*/ 370359 h 1684822"/>
                  <a:gd name="connsiteX0" fmla="*/ 0 w 432049"/>
                  <a:gd name="connsiteY0" fmla="*/ 450827 h 1685074"/>
                  <a:gd name="connsiteX1" fmla="*/ 421302 w 432049"/>
                  <a:gd name="connsiteY1" fmla="*/ 0 h 1685074"/>
                  <a:gd name="connsiteX2" fmla="*/ 432049 w 432049"/>
                  <a:gd name="connsiteY2" fmla="*/ 370359 h 1685074"/>
                  <a:gd name="connsiteX3" fmla="*/ 223340 w 432049"/>
                  <a:gd name="connsiteY3" fmla="*/ 1684822 h 1685074"/>
                  <a:gd name="connsiteX4" fmla="*/ 0 w 432049"/>
                  <a:gd name="connsiteY4" fmla="*/ 450827 h 1685074"/>
                  <a:gd name="connsiteX0" fmla="*/ 149954 w 582003"/>
                  <a:gd name="connsiteY0" fmla="*/ 450827 h 1684983"/>
                  <a:gd name="connsiteX1" fmla="*/ 571256 w 582003"/>
                  <a:gd name="connsiteY1" fmla="*/ 0 h 1684983"/>
                  <a:gd name="connsiteX2" fmla="*/ 582003 w 582003"/>
                  <a:gd name="connsiteY2" fmla="*/ 370359 h 1684983"/>
                  <a:gd name="connsiteX3" fmla="*/ 373294 w 582003"/>
                  <a:gd name="connsiteY3" fmla="*/ 1684822 h 1684983"/>
                  <a:gd name="connsiteX4" fmla="*/ 149954 w 582003"/>
                  <a:gd name="connsiteY4" fmla="*/ 450827 h 1684983"/>
                  <a:gd name="connsiteX0" fmla="*/ 1381 w 433430"/>
                  <a:gd name="connsiteY0" fmla="*/ 450827 h 1685003"/>
                  <a:gd name="connsiteX1" fmla="*/ 422683 w 433430"/>
                  <a:gd name="connsiteY1" fmla="*/ 0 h 1685003"/>
                  <a:gd name="connsiteX2" fmla="*/ 433430 w 433430"/>
                  <a:gd name="connsiteY2" fmla="*/ 370359 h 1685003"/>
                  <a:gd name="connsiteX3" fmla="*/ 224721 w 433430"/>
                  <a:gd name="connsiteY3" fmla="*/ 1684822 h 1685003"/>
                  <a:gd name="connsiteX4" fmla="*/ 1381 w 433430"/>
                  <a:gd name="connsiteY4" fmla="*/ 450827 h 1685003"/>
                  <a:gd name="connsiteX0" fmla="*/ 39241 w 471290"/>
                  <a:gd name="connsiteY0" fmla="*/ 450827 h 1685439"/>
                  <a:gd name="connsiteX1" fmla="*/ 460543 w 471290"/>
                  <a:gd name="connsiteY1" fmla="*/ 0 h 1685439"/>
                  <a:gd name="connsiteX2" fmla="*/ 471290 w 471290"/>
                  <a:gd name="connsiteY2" fmla="*/ 370359 h 1685439"/>
                  <a:gd name="connsiteX3" fmla="*/ 262581 w 471290"/>
                  <a:gd name="connsiteY3" fmla="*/ 1684822 h 1685439"/>
                  <a:gd name="connsiteX4" fmla="*/ 43578 w 471290"/>
                  <a:gd name="connsiteY4" fmla="*/ 541325 h 1685439"/>
                  <a:gd name="connsiteX5" fmla="*/ 39241 w 471290"/>
                  <a:gd name="connsiteY5" fmla="*/ 450827 h 1685439"/>
                  <a:gd name="connsiteX0" fmla="*/ 3984 w 431696"/>
                  <a:gd name="connsiteY0" fmla="*/ 541325 h 1685489"/>
                  <a:gd name="connsiteX1" fmla="*/ 420949 w 431696"/>
                  <a:gd name="connsiteY1" fmla="*/ 0 h 1685489"/>
                  <a:gd name="connsiteX2" fmla="*/ 431696 w 431696"/>
                  <a:gd name="connsiteY2" fmla="*/ 370359 h 1685489"/>
                  <a:gd name="connsiteX3" fmla="*/ 222987 w 431696"/>
                  <a:gd name="connsiteY3" fmla="*/ 1684822 h 1685489"/>
                  <a:gd name="connsiteX4" fmla="*/ 3984 w 431696"/>
                  <a:gd name="connsiteY4" fmla="*/ 541325 h 1685489"/>
                  <a:gd name="connsiteX0" fmla="*/ 3761 w 446104"/>
                  <a:gd name="connsiteY0" fmla="*/ 453543 h 1684969"/>
                  <a:gd name="connsiteX1" fmla="*/ 435357 w 446104"/>
                  <a:gd name="connsiteY1" fmla="*/ 0 h 1684969"/>
                  <a:gd name="connsiteX2" fmla="*/ 446104 w 446104"/>
                  <a:gd name="connsiteY2" fmla="*/ 370359 h 1684969"/>
                  <a:gd name="connsiteX3" fmla="*/ 237395 w 446104"/>
                  <a:gd name="connsiteY3" fmla="*/ 1684822 h 1684969"/>
                  <a:gd name="connsiteX4" fmla="*/ 3761 w 446104"/>
                  <a:gd name="connsiteY4" fmla="*/ 453543 h 1684969"/>
                  <a:gd name="connsiteX0" fmla="*/ 148464 w 590807"/>
                  <a:gd name="connsiteY0" fmla="*/ 453543 h 1684997"/>
                  <a:gd name="connsiteX1" fmla="*/ 580060 w 590807"/>
                  <a:gd name="connsiteY1" fmla="*/ 0 h 1684997"/>
                  <a:gd name="connsiteX2" fmla="*/ 590807 w 590807"/>
                  <a:gd name="connsiteY2" fmla="*/ 370359 h 1684997"/>
                  <a:gd name="connsiteX3" fmla="*/ 382098 w 590807"/>
                  <a:gd name="connsiteY3" fmla="*/ 1684822 h 1684997"/>
                  <a:gd name="connsiteX4" fmla="*/ 148464 w 590807"/>
                  <a:gd name="connsiteY4" fmla="*/ 453543 h 1684997"/>
                  <a:gd name="connsiteX0" fmla="*/ 1319 w 443662"/>
                  <a:gd name="connsiteY0" fmla="*/ 453543 h 1685016"/>
                  <a:gd name="connsiteX1" fmla="*/ 432915 w 443662"/>
                  <a:gd name="connsiteY1" fmla="*/ 0 h 1685016"/>
                  <a:gd name="connsiteX2" fmla="*/ 443662 w 443662"/>
                  <a:gd name="connsiteY2" fmla="*/ 370359 h 1685016"/>
                  <a:gd name="connsiteX3" fmla="*/ 234953 w 443662"/>
                  <a:gd name="connsiteY3" fmla="*/ 1684822 h 1685016"/>
                  <a:gd name="connsiteX4" fmla="*/ 1319 w 443662"/>
                  <a:gd name="connsiteY4" fmla="*/ 453543 h 1685016"/>
                  <a:gd name="connsiteX0" fmla="*/ 1319 w 443662"/>
                  <a:gd name="connsiteY0" fmla="*/ 453543 h 1685016"/>
                  <a:gd name="connsiteX1" fmla="*/ 432915 w 443662"/>
                  <a:gd name="connsiteY1" fmla="*/ 0 h 1685016"/>
                  <a:gd name="connsiteX2" fmla="*/ 443662 w 443662"/>
                  <a:gd name="connsiteY2" fmla="*/ 370359 h 1685016"/>
                  <a:gd name="connsiteX3" fmla="*/ 234953 w 443662"/>
                  <a:gd name="connsiteY3" fmla="*/ 1684822 h 1685016"/>
                  <a:gd name="connsiteX4" fmla="*/ 1319 w 443662"/>
                  <a:gd name="connsiteY4" fmla="*/ 453543 h 1685016"/>
                  <a:gd name="connsiteX0" fmla="*/ 1532 w 411791"/>
                  <a:gd name="connsiteY0" fmla="*/ 416111 h 1684878"/>
                  <a:gd name="connsiteX1" fmla="*/ 401044 w 411791"/>
                  <a:gd name="connsiteY1" fmla="*/ 0 h 1684878"/>
                  <a:gd name="connsiteX2" fmla="*/ 411791 w 411791"/>
                  <a:gd name="connsiteY2" fmla="*/ 370359 h 1684878"/>
                  <a:gd name="connsiteX3" fmla="*/ 203082 w 411791"/>
                  <a:gd name="connsiteY3" fmla="*/ 1684822 h 1684878"/>
                  <a:gd name="connsiteX4" fmla="*/ 1532 w 411791"/>
                  <a:gd name="connsiteY4" fmla="*/ 416111 h 1684878"/>
                  <a:gd name="connsiteX0" fmla="*/ 1564 w 433212"/>
                  <a:gd name="connsiteY0" fmla="*/ 416111 h 1684878"/>
                  <a:gd name="connsiteX1" fmla="*/ 401076 w 433212"/>
                  <a:gd name="connsiteY1" fmla="*/ 0 h 1684878"/>
                  <a:gd name="connsiteX2" fmla="*/ 433212 w 433212"/>
                  <a:gd name="connsiteY2" fmla="*/ 370359 h 1684878"/>
                  <a:gd name="connsiteX3" fmla="*/ 203114 w 433212"/>
                  <a:gd name="connsiteY3" fmla="*/ 1684822 h 1684878"/>
                  <a:gd name="connsiteX4" fmla="*/ 1564 w 433212"/>
                  <a:gd name="connsiteY4" fmla="*/ 416111 h 1684878"/>
                  <a:gd name="connsiteX0" fmla="*/ 1548 w 422501"/>
                  <a:gd name="connsiteY0" fmla="*/ 416111 h 1684866"/>
                  <a:gd name="connsiteX1" fmla="*/ 401060 w 422501"/>
                  <a:gd name="connsiteY1" fmla="*/ 0 h 1684866"/>
                  <a:gd name="connsiteX2" fmla="*/ 422501 w 422501"/>
                  <a:gd name="connsiteY2" fmla="*/ 375707 h 1684866"/>
                  <a:gd name="connsiteX3" fmla="*/ 203098 w 422501"/>
                  <a:gd name="connsiteY3" fmla="*/ 1684822 h 1684866"/>
                  <a:gd name="connsiteX4" fmla="*/ 1548 w 422501"/>
                  <a:gd name="connsiteY4" fmla="*/ 416111 h 1684866"/>
                  <a:gd name="connsiteX0" fmla="*/ 1548 w 422501"/>
                  <a:gd name="connsiteY0" fmla="*/ 416111 h 1684866"/>
                  <a:gd name="connsiteX1" fmla="*/ 401060 w 422501"/>
                  <a:gd name="connsiteY1" fmla="*/ 0 h 1684866"/>
                  <a:gd name="connsiteX2" fmla="*/ 422501 w 422501"/>
                  <a:gd name="connsiteY2" fmla="*/ 375707 h 1684866"/>
                  <a:gd name="connsiteX3" fmla="*/ 203098 w 422501"/>
                  <a:gd name="connsiteY3" fmla="*/ 1684822 h 1684866"/>
                  <a:gd name="connsiteX4" fmla="*/ 1548 w 422501"/>
                  <a:gd name="connsiteY4" fmla="*/ 416111 h 1684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2501" h="1684866">
                    <a:moveTo>
                      <a:pt x="1548" y="416111"/>
                    </a:moveTo>
                    <a:cubicBezTo>
                      <a:pt x="414933" y="-18312"/>
                      <a:pt x="14280" y="418852"/>
                      <a:pt x="401060" y="0"/>
                    </a:cubicBezTo>
                    <a:cubicBezTo>
                      <a:pt x="406584" y="58143"/>
                      <a:pt x="418919" y="72958"/>
                      <a:pt x="422501" y="375707"/>
                    </a:cubicBezTo>
                    <a:cubicBezTo>
                      <a:pt x="389507" y="1490443"/>
                      <a:pt x="273257" y="1678088"/>
                      <a:pt x="203098" y="1684822"/>
                    </a:cubicBezTo>
                    <a:cubicBezTo>
                      <a:pt x="132939" y="1691556"/>
                      <a:pt x="-16817" y="931001"/>
                      <a:pt x="1548" y="416111"/>
                    </a:cubicBezTo>
                    <a:close/>
                  </a:path>
                </a:pathLst>
              </a:custGeom>
              <a:gradFill flip="none" rotWithShape="1">
                <a:gsLst>
                  <a:gs pos="18000">
                    <a:srgbClr val="0E7C06"/>
                  </a:gs>
                  <a:gs pos="100000">
                    <a:srgbClr val="04AC14"/>
                  </a:gs>
                </a:gsLst>
                <a:lin ang="5400000" scaled="0"/>
                <a:tileRect/>
              </a:gra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81" name="TextBox 80"/>
            <p:cNvSpPr txBox="1"/>
            <p:nvPr/>
          </p:nvSpPr>
          <p:spPr>
            <a:xfrm>
              <a:off x="3292027" y="3841188"/>
              <a:ext cx="80177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i="0" dirty="0" smtClean="0">
                  <a:ln w="12700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家庭调查</a:t>
              </a:r>
              <a:endParaRPr lang="zh-CN" altLang="en-US" i="0" dirty="0">
                <a:ln w="12700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</p:grpSp>
      <p:grpSp>
        <p:nvGrpSpPr>
          <p:cNvPr id="99" name="组合 98"/>
          <p:cNvGrpSpPr/>
          <p:nvPr/>
        </p:nvGrpSpPr>
        <p:grpSpPr>
          <a:xfrm>
            <a:off x="4425661" y="2998928"/>
            <a:ext cx="1772470" cy="2214483"/>
            <a:chOff x="4397086" y="3037028"/>
            <a:chExt cx="1772470" cy="2214483"/>
          </a:xfrm>
        </p:grpSpPr>
        <p:grpSp>
          <p:nvGrpSpPr>
            <p:cNvPr id="58" name="组合 57"/>
            <p:cNvGrpSpPr/>
            <p:nvPr/>
          </p:nvGrpSpPr>
          <p:grpSpPr>
            <a:xfrm>
              <a:off x="4397086" y="3037028"/>
              <a:ext cx="1772470" cy="2214483"/>
              <a:chOff x="5872572" y="4275812"/>
              <a:chExt cx="1687420" cy="2108224"/>
            </a:xfrm>
          </p:grpSpPr>
          <p:grpSp>
            <p:nvGrpSpPr>
              <p:cNvPr id="59" name="组合 58"/>
              <p:cNvGrpSpPr/>
              <p:nvPr/>
            </p:nvGrpSpPr>
            <p:grpSpPr>
              <a:xfrm>
                <a:off x="5872572" y="4275812"/>
                <a:ext cx="1495134" cy="2108224"/>
                <a:chOff x="5872572" y="4275812"/>
                <a:chExt cx="1495134" cy="2108224"/>
              </a:xfrm>
            </p:grpSpPr>
            <p:sp>
              <p:nvSpPr>
                <p:cNvPr id="61" name="椭圆 6"/>
                <p:cNvSpPr/>
                <p:nvPr/>
              </p:nvSpPr>
              <p:spPr>
                <a:xfrm rot="13463818">
                  <a:off x="5877176" y="4275812"/>
                  <a:ext cx="1490530" cy="2106343"/>
                </a:xfrm>
                <a:custGeom>
                  <a:avLst/>
                  <a:gdLst>
                    <a:gd name="connsiteX0" fmla="*/ 1337568 w 2295129"/>
                    <a:gd name="connsiteY0" fmla="*/ 129 h 2275542"/>
                    <a:gd name="connsiteX1" fmla="*/ 2295129 w 2295129"/>
                    <a:gd name="connsiteY1" fmla="*/ 404830 h 2275542"/>
                    <a:gd name="connsiteX2" fmla="*/ 384531 w 2295129"/>
                    <a:gd name="connsiteY2" fmla="*/ 2275542 h 2275542"/>
                    <a:gd name="connsiteX3" fmla="*/ 0 w 2295129"/>
                    <a:gd name="connsiteY3" fmla="*/ 1337697 h 2275542"/>
                    <a:gd name="connsiteX4" fmla="*/ 405974 w 2295129"/>
                    <a:gd name="connsiteY4" fmla="*/ 373226 h 2275542"/>
                    <a:gd name="connsiteX5" fmla="*/ 1337568 w 2295129"/>
                    <a:gd name="connsiteY5" fmla="*/ 129 h 2275542"/>
                    <a:gd name="connsiteX0" fmla="*/ 1337568 w 1463983"/>
                    <a:gd name="connsiteY0" fmla="*/ 129 h 2275542"/>
                    <a:gd name="connsiteX1" fmla="*/ 1350589 w 1463983"/>
                    <a:gd name="connsiteY1" fmla="*/ 1078446 h 2275542"/>
                    <a:gd name="connsiteX2" fmla="*/ 384531 w 1463983"/>
                    <a:gd name="connsiteY2" fmla="*/ 2275542 h 2275542"/>
                    <a:gd name="connsiteX3" fmla="*/ 0 w 1463983"/>
                    <a:gd name="connsiteY3" fmla="*/ 1337697 h 2275542"/>
                    <a:gd name="connsiteX4" fmla="*/ 405974 w 1463983"/>
                    <a:gd name="connsiteY4" fmla="*/ 373226 h 2275542"/>
                    <a:gd name="connsiteX5" fmla="*/ 1337568 w 1463983"/>
                    <a:gd name="connsiteY5" fmla="*/ 129 h 2275542"/>
                    <a:gd name="connsiteX0" fmla="*/ 405974 w 1350602"/>
                    <a:gd name="connsiteY0" fmla="*/ 3009 h 1905325"/>
                    <a:gd name="connsiteX1" fmla="*/ 1350589 w 1350602"/>
                    <a:gd name="connsiteY1" fmla="*/ 708229 h 1905325"/>
                    <a:gd name="connsiteX2" fmla="*/ 384531 w 1350602"/>
                    <a:gd name="connsiteY2" fmla="*/ 1905325 h 1905325"/>
                    <a:gd name="connsiteX3" fmla="*/ 0 w 1350602"/>
                    <a:gd name="connsiteY3" fmla="*/ 967480 h 1905325"/>
                    <a:gd name="connsiteX4" fmla="*/ 405974 w 1350602"/>
                    <a:gd name="connsiteY4" fmla="*/ 3009 h 1905325"/>
                    <a:gd name="connsiteX0" fmla="*/ 405974 w 1350602"/>
                    <a:gd name="connsiteY0" fmla="*/ 3009 h 1905325"/>
                    <a:gd name="connsiteX1" fmla="*/ 1350589 w 1350602"/>
                    <a:gd name="connsiteY1" fmla="*/ 708229 h 1905325"/>
                    <a:gd name="connsiteX2" fmla="*/ 384531 w 1350602"/>
                    <a:gd name="connsiteY2" fmla="*/ 1905325 h 1905325"/>
                    <a:gd name="connsiteX3" fmla="*/ 0 w 1350602"/>
                    <a:gd name="connsiteY3" fmla="*/ 967480 h 1905325"/>
                    <a:gd name="connsiteX4" fmla="*/ 405974 w 1350602"/>
                    <a:gd name="connsiteY4" fmla="*/ 3009 h 1905325"/>
                    <a:gd name="connsiteX0" fmla="*/ 405974 w 1350589"/>
                    <a:gd name="connsiteY0" fmla="*/ 2507 h 1904823"/>
                    <a:gd name="connsiteX1" fmla="*/ 1350589 w 1350589"/>
                    <a:gd name="connsiteY1" fmla="*/ 707727 h 1904823"/>
                    <a:gd name="connsiteX2" fmla="*/ 384531 w 1350589"/>
                    <a:gd name="connsiteY2" fmla="*/ 1904823 h 1904823"/>
                    <a:gd name="connsiteX3" fmla="*/ 0 w 1350589"/>
                    <a:gd name="connsiteY3" fmla="*/ 966978 h 1904823"/>
                    <a:gd name="connsiteX4" fmla="*/ 405974 w 1350589"/>
                    <a:gd name="connsiteY4" fmla="*/ 2507 h 1904823"/>
                    <a:gd name="connsiteX0" fmla="*/ 405974 w 1374471"/>
                    <a:gd name="connsiteY0" fmla="*/ 2507 h 1908886"/>
                    <a:gd name="connsiteX1" fmla="*/ 1350589 w 1374471"/>
                    <a:gd name="connsiteY1" fmla="*/ 707727 h 1908886"/>
                    <a:gd name="connsiteX2" fmla="*/ 1032107 w 1374471"/>
                    <a:gd name="connsiteY2" fmla="*/ 1283445 h 1908886"/>
                    <a:gd name="connsiteX3" fmla="*/ 384531 w 1374471"/>
                    <a:gd name="connsiteY3" fmla="*/ 1904823 h 1908886"/>
                    <a:gd name="connsiteX4" fmla="*/ 0 w 1374471"/>
                    <a:gd name="connsiteY4" fmla="*/ 966978 h 1908886"/>
                    <a:gd name="connsiteX5" fmla="*/ 405974 w 1374471"/>
                    <a:gd name="connsiteY5" fmla="*/ 2507 h 1908886"/>
                    <a:gd name="connsiteX0" fmla="*/ 405974 w 1423807"/>
                    <a:gd name="connsiteY0" fmla="*/ 2507 h 1908687"/>
                    <a:gd name="connsiteX1" fmla="*/ 1350589 w 1423807"/>
                    <a:gd name="connsiteY1" fmla="*/ 707727 h 1908687"/>
                    <a:gd name="connsiteX2" fmla="*/ 1296044 w 1423807"/>
                    <a:gd name="connsiteY2" fmla="*/ 1256928 h 1908687"/>
                    <a:gd name="connsiteX3" fmla="*/ 384531 w 1423807"/>
                    <a:gd name="connsiteY3" fmla="*/ 1904823 h 1908687"/>
                    <a:gd name="connsiteX4" fmla="*/ 0 w 1423807"/>
                    <a:gd name="connsiteY4" fmla="*/ 966978 h 1908687"/>
                    <a:gd name="connsiteX5" fmla="*/ 405974 w 1423807"/>
                    <a:gd name="connsiteY5" fmla="*/ 2507 h 1908687"/>
                    <a:gd name="connsiteX0" fmla="*/ 405974 w 1385391"/>
                    <a:gd name="connsiteY0" fmla="*/ 2507 h 1908687"/>
                    <a:gd name="connsiteX1" fmla="*/ 1350589 w 1385391"/>
                    <a:gd name="connsiteY1" fmla="*/ 707727 h 1908687"/>
                    <a:gd name="connsiteX2" fmla="*/ 1296044 w 1385391"/>
                    <a:gd name="connsiteY2" fmla="*/ 1256928 h 1908687"/>
                    <a:gd name="connsiteX3" fmla="*/ 384531 w 1385391"/>
                    <a:gd name="connsiteY3" fmla="*/ 1904823 h 1908687"/>
                    <a:gd name="connsiteX4" fmla="*/ 0 w 1385391"/>
                    <a:gd name="connsiteY4" fmla="*/ 966978 h 1908687"/>
                    <a:gd name="connsiteX5" fmla="*/ 405974 w 1385391"/>
                    <a:gd name="connsiteY5" fmla="*/ 2507 h 1908687"/>
                    <a:gd name="connsiteX0" fmla="*/ 405974 w 1350589"/>
                    <a:gd name="connsiteY0" fmla="*/ 2507 h 1908687"/>
                    <a:gd name="connsiteX1" fmla="*/ 1350589 w 1350589"/>
                    <a:gd name="connsiteY1" fmla="*/ 707727 h 1908687"/>
                    <a:gd name="connsiteX2" fmla="*/ 1296044 w 1350589"/>
                    <a:gd name="connsiteY2" fmla="*/ 1256928 h 1908687"/>
                    <a:gd name="connsiteX3" fmla="*/ 384531 w 1350589"/>
                    <a:gd name="connsiteY3" fmla="*/ 1904823 h 1908687"/>
                    <a:gd name="connsiteX4" fmla="*/ 0 w 1350589"/>
                    <a:gd name="connsiteY4" fmla="*/ 966978 h 1908687"/>
                    <a:gd name="connsiteX5" fmla="*/ 405974 w 1350589"/>
                    <a:gd name="connsiteY5" fmla="*/ 2507 h 1908687"/>
                    <a:gd name="connsiteX0" fmla="*/ 405974 w 1350589"/>
                    <a:gd name="connsiteY0" fmla="*/ 2507 h 1908588"/>
                    <a:gd name="connsiteX1" fmla="*/ 1350589 w 1350589"/>
                    <a:gd name="connsiteY1" fmla="*/ 707727 h 1908588"/>
                    <a:gd name="connsiteX2" fmla="*/ 1320607 w 1350589"/>
                    <a:gd name="connsiteY2" fmla="*/ 1242539 h 1908588"/>
                    <a:gd name="connsiteX3" fmla="*/ 384531 w 1350589"/>
                    <a:gd name="connsiteY3" fmla="*/ 1904823 h 1908588"/>
                    <a:gd name="connsiteX4" fmla="*/ 0 w 1350589"/>
                    <a:gd name="connsiteY4" fmla="*/ 966978 h 1908588"/>
                    <a:gd name="connsiteX5" fmla="*/ 405974 w 1350589"/>
                    <a:gd name="connsiteY5" fmla="*/ 2507 h 1908588"/>
                    <a:gd name="connsiteX0" fmla="*/ 405974 w 1350589"/>
                    <a:gd name="connsiteY0" fmla="*/ 2507 h 1908588"/>
                    <a:gd name="connsiteX1" fmla="*/ 1350589 w 1350589"/>
                    <a:gd name="connsiteY1" fmla="*/ 707727 h 1908588"/>
                    <a:gd name="connsiteX2" fmla="*/ 1320607 w 1350589"/>
                    <a:gd name="connsiteY2" fmla="*/ 1242539 h 1908588"/>
                    <a:gd name="connsiteX3" fmla="*/ 384531 w 1350589"/>
                    <a:gd name="connsiteY3" fmla="*/ 1904823 h 1908588"/>
                    <a:gd name="connsiteX4" fmla="*/ 0 w 1350589"/>
                    <a:gd name="connsiteY4" fmla="*/ 966978 h 1908588"/>
                    <a:gd name="connsiteX5" fmla="*/ 405974 w 1350589"/>
                    <a:gd name="connsiteY5" fmla="*/ 2507 h 1908588"/>
                    <a:gd name="connsiteX0" fmla="*/ 405974 w 1350589"/>
                    <a:gd name="connsiteY0" fmla="*/ 2507 h 1908588"/>
                    <a:gd name="connsiteX1" fmla="*/ 1350589 w 1350589"/>
                    <a:gd name="connsiteY1" fmla="*/ 707727 h 1908588"/>
                    <a:gd name="connsiteX2" fmla="*/ 1320607 w 1350589"/>
                    <a:gd name="connsiteY2" fmla="*/ 1242539 h 1908588"/>
                    <a:gd name="connsiteX3" fmla="*/ 384531 w 1350589"/>
                    <a:gd name="connsiteY3" fmla="*/ 1904823 h 1908588"/>
                    <a:gd name="connsiteX4" fmla="*/ 0 w 1350589"/>
                    <a:gd name="connsiteY4" fmla="*/ 966978 h 1908588"/>
                    <a:gd name="connsiteX5" fmla="*/ 405974 w 1350589"/>
                    <a:gd name="connsiteY5" fmla="*/ 2507 h 1908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50589" h="1908588">
                      <a:moveTo>
                        <a:pt x="405974" y="2507"/>
                      </a:moveTo>
                      <a:cubicBezTo>
                        <a:pt x="631072" y="-40701"/>
                        <a:pt x="1148091" y="486156"/>
                        <a:pt x="1350589" y="707727"/>
                      </a:cubicBezTo>
                      <a:cubicBezTo>
                        <a:pt x="1324928" y="1212801"/>
                        <a:pt x="1338446" y="729034"/>
                        <a:pt x="1320607" y="1242539"/>
                      </a:cubicBezTo>
                      <a:cubicBezTo>
                        <a:pt x="1159597" y="1442055"/>
                        <a:pt x="556549" y="1957567"/>
                        <a:pt x="384531" y="1904823"/>
                      </a:cubicBezTo>
                      <a:cubicBezTo>
                        <a:pt x="146596" y="1663727"/>
                        <a:pt x="0" y="1332472"/>
                        <a:pt x="0" y="966978"/>
                      </a:cubicBezTo>
                      <a:cubicBezTo>
                        <a:pt x="3574" y="649925"/>
                        <a:pt x="175017" y="138423"/>
                        <a:pt x="405974" y="2507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43000">
                      <a:srgbClr val="FF7711"/>
                    </a:gs>
                    <a:gs pos="67000">
                      <a:srgbClr val="FFAA01"/>
                    </a:gs>
                    <a:gs pos="100000">
                      <a:srgbClr val="FECE02"/>
                    </a:gs>
                    <a:gs pos="0">
                      <a:srgbClr val="C73E01"/>
                    </a:gs>
                    <a:gs pos="80000">
                      <a:srgbClr val="FFC000"/>
                    </a:gs>
                  </a:gsLst>
                  <a:lin ang="5400000" scaled="1"/>
                  <a:tileRect/>
                </a:gradFill>
                <a:ln w="3175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62" name="椭圆 6"/>
                <p:cNvSpPr/>
                <p:nvPr/>
              </p:nvSpPr>
              <p:spPr>
                <a:xfrm rot="13463818">
                  <a:off x="5872572" y="4277693"/>
                  <a:ext cx="1490530" cy="2106343"/>
                </a:xfrm>
                <a:custGeom>
                  <a:avLst/>
                  <a:gdLst>
                    <a:gd name="connsiteX0" fmla="*/ 1337568 w 2295129"/>
                    <a:gd name="connsiteY0" fmla="*/ 129 h 2275542"/>
                    <a:gd name="connsiteX1" fmla="*/ 2295129 w 2295129"/>
                    <a:gd name="connsiteY1" fmla="*/ 404830 h 2275542"/>
                    <a:gd name="connsiteX2" fmla="*/ 384531 w 2295129"/>
                    <a:gd name="connsiteY2" fmla="*/ 2275542 h 2275542"/>
                    <a:gd name="connsiteX3" fmla="*/ 0 w 2295129"/>
                    <a:gd name="connsiteY3" fmla="*/ 1337697 h 2275542"/>
                    <a:gd name="connsiteX4" fmla="*/ 405974 w 2295129"/>
                    <a:gd name="connsiteY4" fmla="*/ 373226 h 2275542"/>
                    <a:gd name="connsiteX5" fmla="*/ 1337568 w 2295129"/>
                    <a:gd name="connsiteY5" fmla="*/ 129 h 2275542"/>
                    <a:gd name="connsiteX0" fmla="*/ 1337568 w 1463983"/>
                    <a:gd name="connsiteY0" fmla="*/ 129 h 2275542"/>
                    <a:gd name="connsiteX1" fmla="*/ 1350589 w 1463983"/>
                    <a:gd name="connsiteY1" fmla="*/ 1078446 h 2275542"/>
                    <a:gd name="connsiteX2" fmla="*/ 384531 w 1463983"/>
                    <a:gd name="connsiteY2" fmla="*/ 2275542 h 2275542"/>
                    <a:gd name="connsiteX3" fmla="*/ 0 w 1463983"/>
                    <a:gd name="connsiteY3" fmla="*/ 1337697 h 2275542"/>
                    <a:gd name="connsiteX4" fmla="*/ 405974 w 1463983"/>
                    <a:gd name="connsiteY4" fmla="*/ 373226 h 2275542"/>
                    <a:gd name="connsiteX5" fmla="*/ 1337568 w 1463983"/>
                    <a:gd name="connsiteY5" fmla="*/ 129 h 2275542"/>
                    <a:gd name="connsiteX0" fmla="*/ 405974 w 1350602"/>
                    <a:gd name="connsiteY0" fmla="*/ 3009 h 1905325"/>
                    <a:gd name="connsiteX1" fmla="*/ 1350589 w 1350602"/>
                    <a:gd name="connsiteY1" fmla="*/ 708229 h 1905325"/>
                    <a:gd name="connsiteX2" fmla="*/ 384531 w 1350602"/>
                    <a:gd name="connsiteY2" fmla="*/ 1905325 h 1905325"/>
                    <a:gd name="connsiteX3" fmla="*/ 0 w 1350602"/>
                    <a:gd name="connsiteY3" fmla="*/ 967480 h 1905325"/>
                    <a:gd name="connsiteX4" fmla="*/ 405974 w 1350602"/>
                    <a:gd name="connsiteY4" fmla="*/ 3009 h 1905325"/>
                    <a:gd name="connsiteX0" fmla="*/ 405974 w 1350602"/>
                    <a:gd name="connsiteY0" fmla="*/ 3009 h 1905325"/>
                    <a:gd name="connsiteX1" fmla="*/ 1350589 w 1350602"/>
                    <a:gd name="connsiteY1" fmla="*/ 708229 h 1905325"/>
                    <a:gd name="connsiteX2" fmla="*/ 384531 w 1350602"/>
                    <a:gd name="connsiteY2" fmla="*/ 1905325 h 1905325"/>
                    <a:gd name="connsiteX3" fmla="*/ 0 w 1350602"/>
                    <a:gd name="connsiteY3" fmla="*/ 967480 h 1905325"/>
                    <a:gd name="connsiteX4" fmla="*/ 405974 w 1350602"/>
                    <a:gd name="connsiteY4" fmla="*/ 3009 h 1905325"/>
                    <a:gd name="connsiteX0" fmla="*/ 405974 w 1350589"/>
                    <a:gd name="connsiteY0" fmla="*/ 2507 h 1904823"/>
                    <a:gd name="connsiteX1" fmla="*/ 1350589 w 1350589"/>
                    <a:gd name="connsiteY1" fmla="*/ 707727 h 1904823"/>
                    <a:gd name="connsiteX2" fmla="*/ 384531 w 1350589"/>
                    <a:gd name="connsiteY2" fmla="*/ 1904823 h 1904823"/>
                    <a:gd name="connsiteX3" fmla="*/ 0 w 1350589"/>
                    <a:gd name="connsiteY3" fmla="*/ 966978 h 1904823"/>
                    <a:gd name="connsiteX4" fmla="*/ 405974 w 1350589"/>
                    <a:gd name="connsiteY4" fmla="*/ 2507 h 1904823"/>
                    <a:gd name="connsiteX0" fmla="*/ 405974 w 1374471"/>
                    <a:gd name="connsiteY0" fmla="*/ 2507 h 1908886"/>
                    <a:gd name="connsiteX1" fmla="*/ 1350589 w 1374471"/>
                    <a:gd name="connsiteY1" fmla="*/ 707727 h 1908886"/>
                    <a:gd name="connsiteX2" fmla="*/ 1032107 w 1374471"/>
                    <a:gd name="connsiteY2" fmla="*/ 1283445 h 1908886"/>
                    <a:gd name="connsiteX3" fmla="*/ 384531 w 1374471"/>
                    <a:gd name="connsiteY3" fmla="*/ 1904823 h 1908886"/>
                    <a:gd name="connsiteX4" fmla="*/ 0 w 1374471"/>
                    <a:gd name="connsiteY4" fmla="*/ 966978 h 1908886"/>
                    <a:gd name="connsiteX5" fmla="*/ 405974 w 1374471"/>
                    <a:gd name="connsiteY5" fmla="*/ 2507 h 1908886"/>
                    <a:gd name="connsiteX0" fmla="*/ 405974 w 1423807"/>
                    <a:gd name="connsiteY0" fmla="*/ 2507 h 1908687"/>
                    <a:gd name="connsiteX1" fmla="*/ 1350589 w 1423807"/>
                    <a:gd name="connsiteY1" fmla="*/ 707727 h 1908687"/>
                    <a:gd name="connsiteX2" fmla="*/ 1296044 w 1423807"/>
                    <a:gd name="connsiteY2" fmla="*/ 1256928 h 1908687"/>
                    <a:gd name="connsiteX3" fmla="*/ 384531 w 1423807"/>
                    <a:gd name="connsiteY3" fmla="*/ 1904823 h 1908687"/>
                    <a:gd name="connsiteX4" fmla="*/ 0 w 1423807"/>
                    <a:gd name="connsiteY4" fmla="*/ 966978 h 1908687"/>
                    <a:gd name="connsiteX5" fmla="*/ 405974 w 1423807"/>
                    <a:gd name="connsiteY5" fmla="*/ 2507 h 1908687"/>
                    <a:gd name="connsiteX0" fmla="*/ 405974 w 1385391"/>
                    <a:gd name="connsiteY0" fmla="*/ 2507 h 1908687"/>
                    <a:gd name="connsiteX1" fmla="*/ 1350589 w 1385391"/>
                    <a:gd name="connsiteY1" fmla="*/ 707727 h 1908687"/>
                    <a:gd name="connsiteX2" fmla="*/ 1296044 w 1385391"/>
                    <a:gd name="connsiteY2" fmla="*/ 1256928 h 1908687"/>
                    <a:gd name="connsiteX3" fmla="*/ 384531 w 1385391"/>
                    <a:gd name="connsiteY3" fmla="*/ 1904823 h 1908687"/>
                    <a:gd name="connsiteX4" fmla="*/ 0 w 1385391"/>
                    <a:gd name="connsiteY4" fmla="*/ 966978 h 1908687"/>
                    <a:gd name="connsiteX5" fmla="*/ 405974 w 1385391"/>
                    <a:gd name="connsiteY5" fmla="*/ 2507 h 1908687"/>
                    <a:gd name="connsiteX0" fmla="*/ 405974 w 1350589"/>
                    <a:gd name="connsiteY0" fmla="*/ 2507 h 1908687"/>
                    <a:gd name="connsiteX1" fmla="*/ 1350589 w 1350589"/>
                    <a:gd name="connsiteY1" fmla="*/ 707727 h 1908687"/>
                    <a:gd name="connsiteX2" fmla="*/ 1296044 w 1350589"/>
                    <a:gd name="connsiteY2" fmla="*/ 1256928 h 1908687"/>
                    <a:gd name="connsiteX3" fmla="*/ 384531 w 1350589"/>
                    <a:gd name="connsiteY3" fmla="*/ 1904823 h 1908687"/>
                    <a:gd name="connsiteX4" fmla="*/ 0 w 1350589"/>
                    <a:gd name="connsiteY4" fmla="*/ 966978 h 1908687"/>
                    <a:gd name="connsiteX5" fmla="*/ 405974 w 1350589"/>
                    <a:gd name="connsiteY5" fmla="*/ 2507 h 1908687"/>
                    <a:gd name="connsiteX0" fmla="*/ 405974 w 1350589"/>
                    <a:gd name="connsiteY0" fmla="*/ 2507 h 1908588"/>
                    <a:gd name="connsiteX1" fmla="*/ 1350589 w 1350589"/>
                    <a:gd name="connsiteY1" fmla="*/ 707727 h 1908588"/>
                    <a:gd name="connsiteX2" fmla="*/ 1320607 w 1350589"/>
                    <a:gd name="connsiteY2" fmla="*/ 1242539 h 1908588"/>
                    <a:gd name="connsiteX3" fmla="*/ 384531 w 1350589"/>
                    <a:gd name="connsiteY3" fmla="*/ 1904823 h 1908588"/>
                    <a:gd name="connsiteX4" fmla="*/ 0 w 1350589"/>
                    <a:gd name="connsiteY4" fmla="*/ 966978 h 1908588"/>
                    <a:gd name="connsiteX5" fmla="*/ 405974 w 1350589"/>
                    <a:gd name="connsiteY5" fmla="*/ 2507 h 1908588"/>
                    <a:gd name="connsiteX0" fmla="*/ 405974 w 1350589"/>
                    <a:gd name="connsiteY0" fmla="*/ 2507 h 1908588"/>
                    <a:gd name="connsiteX1" fmla="*/ 1350589 w 1350589"/>
                    <a:gd name="connsiteY1" fmla="*/ 707727 h 1908588"/>
                    <a:gd name="connsiteX2" fmla="*/ 1320607 w 1350589"/>
                    <a:gd name="connsiteY2" fmla="*/ 1242539 h 1908588"/>
                    <a:gd name="connsiteX3" fmla="*/ 384531 w 1350589"/>
                    <a:gd name="connsiteY3" fmla="*/ 1904823 h 1908588"/>
                    <a:gd name="connsiteX4" fmla="*/ 0 w 1350589"/>
                    <a:gd name="connsiteY4" fmla="*/ 966978 h 1908588"/>
                    <a:gd name="connsiteX5" fmla="*/ 405974 w 1350589"/>
                    <a:gd name="connsiteY5" fmla="*/ 2507 h 1908588"/>
                    <a:gd name="connsiteX0" fmla="*/ 405974 w 1350589"/>
                    <a:gd name="connsiteY0" fmla="*/ 2507 h 1908588"/>
                    <a:gd name="connsiteX1" fmla="*/ 1350589 w 1350589"/>
                    <a:gd name="connsiteY1" fmla="*/ 707727 h 1908588"/>
                    <a:gd name="connsiteX2" fmla="*/ 1320607 w 1350589"/>
                    <a:gd name="connsiteY2" fmla="*/ 1242539 h 1908588"/>
                    <a:gd name="connsiteX3" fmla="*/ 384531 w 1350589"/>
                    <a:gd name="connsiteY3" fmla="*/ 1904823 h 1908588"/>
                    <a:gd name="connsiteX4" fmla="*/ 0 w 1350589"/>
                    <a:gd name="connsiteY4" fmla="*/ 966978 h 1908588"/>
                    <a:gd name="connsiteX5" fmla="*/ 405974 w 1350589"/>
                    <a:gd name="connsiteY5" fmla="*/ 2507 h 19085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50589" h="1908588">
                      <a:moveTo>
                        <a:pt x="405974" y="2507"/>
                      </a:moveTo>
                      <a:cubicBezTo>
                        <a:pt x="631072" y="-40701"/>
                        <a:pt x="1148091" y="486156"/>
                        <a:pt x="1350589" y="707727"/>
                      </a:cubicBezTo>
                      <a:cubicBezTo>
                        <a:pt x="1324928" y="1212801"/>
                        <a:pt x="1338446" y="729034"/>
                        <a:pt x="1320607" y="1242539"/>
                      </a:cubicBezTo>
                      <a:cubicBezTo>
                        <a:pt x="1159597" y="1442055"/>
                        <a:pt x="556549" y="1957567"/>
                        <a:pt x="384531" y="1904823"/>
                      </a:cubicBezTo>
                      <a:cubicBezTo>
                        <a:pt x="146596" y="1663727"/>
                        <a:pt x="0" y="1332472"/>
                        <a:pt x="0" y="966978"/>
                      </a:cubicBezTo>
                      <a:cubicBezTo>
                        <a:pt x="3574" y="649925"/>
                        <a:pt x="175017" y="138423"/>
                        <a:pt x="405974" y="2507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83000">
                      <a:srgbClr val="ED4A01">
                        <a:alpha val="80000"/>
                      </a:srgbClr>
                    </a:gs>
                    <a:gs pos="98000">
                      <a:schemeClr val="bg1">
                        <a:alpha val="0"/>
                      </a:schemeClr>
                    </a:gs>
                    <a:gs pos="48000">
                      <a:schemeClr val="bg1">
                        <a:alpha val="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60" name="椭圆 7"/>
              <p:cNvSpPr/>
              <p:nvPr/>
            </p:nvSpPr>
            <p:spPr>
              <a:xfrm rot="31450">
                <a:off x="5892726" y="4558652"/>
                <a:ext cx="1667266" cy="476761"/>
              </a:xfrm>
              <a:custGeom>
                <a:avLst/>
                <a:gdLst>
                  <a:gd name="connsiteX0" fmla="*/ 0 w 2928249"/>
                  <a:gd name="connsiteY0" fmla="*/ 231633 h 463266"/>
                  <a:gd name="connsiteX1" fmla="*/ 1464125 w 2928249"/>
                  <a:gd name="connsiteY1" fmla="*/ 0 h 463266"/>
                  <a:gd name="connsiteX2" fmla="*/ 2928250 w 2928249"/>
                  <a:gd name="connsiteY2" fmla="*/ 231633 h 463266"/>
                  <a:gd name="connsiteX3" fmla="*/ 1464125 w 2928249"/>
                  <a:gd name="connsiteY3" fmla="*/ 463266 h 463266"/>
                  <a:gd name="connsiteX4" fmla="*/ 0 w 2928249"/>
                  <a:gd name="connsiteY4" fmla="*/ 231633 h 463266"/>
                  <a:gd name="connsiteX0" fmla="*/ 0 w 2929907"/>
                  <a:gd name="connsiteY0" fmla="*/ 258751 h 490384"/>
                  <a:gd name="connsiteX1" fmla="*/ 1464125 w 2929907"/>
                  <a:gd name="connsiteY1" fmla="*/ 27118 h 490384"/>
                  <a:gd name="connsiteX2" fmla="*/ 1748570 w 2929907"/>
                  <a:gd name="connsiteY2" fmla="*/ 30462 h 490384"/>
                  <a:gd name="connsiteX3" fmla="*/ 2928250 w 2929907"/>
                  <a:gd name="connsiteY3" fmla="*/ 258751 h 490384"/>
                  <a:gd name="connsiteX4" fmla="*/ 1464125 w 2929907"/>
                  <a:gd name="connsiteY4" fmla="*/ 490384 h 490384"/>
                  <a:gd name="connsiteX5" fmla="*/ 0 w 2929907"/>
                  <a:gd name="connsiteY5" fmla="*/ 258751 h 490384"/>
                  <a:gd name="connsiteX0" fmla="*/ 705 w 2930612"/>
                  <a:gd name="connsiteY0" fmla="*/ 258751 h 516126"/>
                  <a:gd name="connsiteX1" fmla="*/ 1464830 w 2930612"/>
                  <a:gd name="connsiteY1" fmla="*/ 27118 h 516126"/>
                  <a:gd name="connsiteX2" fmla="*/ 1749275 w 2930612"/>
                  <a:gd name="connsiteY2" fmla="*/ 30462 h 516126"/>
                  <a:gd name="connsiteX3" fmla="*/ 2928955 w 2930612"/>
                  <a:gd name="connsiteY3" fmla="*/ 258751 h 516126"/>
                  <a:gd name="connsiteX4" fmla="*/ 1464830 w 2930612"/>
                  <a:gd name="connsiteY4" fmla="*/ 490384 h 516126"/>
                  <a:gd name="connsiteX5" fmla="*/ 1273348 w 2930612"/>
                  <a:gd name="connsiteY5" fmla="*/ 484414 h 516126"/>
                  <a:gd name="connsiteX6" fmla="*/ 705 w 2930612"/>
                  <a:gd name="connsiteY6" fmla="*/ 258751 h 516126"/>
                  <a:gd name="connsiteX0" fmla="*/ 12176 w 1669440"/>
                  <a:gd name="connsiteY0" fmla="*/ 499952 h 546598"/>
                  <a:gd name="connsiteX1" fmla="*/ 203658 w 1669440"/>
                  <a:gd name="connsiteY1" fmla="*/ 42656 h 546598"/>
                  <a:gd name="connsiteX2" fmla="*/ 488103 w 1669440"/>
                  <a:gd name="connsiteY2" fmla="*/ 46000 h 546598"/>
                  <a:gd name="connsiteX3" fmla="*/ 1667783 w 1669440"/>
                  <a:gd name="connsiteY3" fmla="*/ 274289 h 546598"/>
                  <a:gd name="connsiteX4" fmla="*/ 203658 w 1669440"/>
                  <a:gd name="connsiteY4" fmla="*/ 505922 h 546598"/>
                  <a:gd name="connsiteX5" fmla="*/ 12176 w 1669440"/>
                  <a:gd name="connsiteY5" fmla="*/ 499952 h 546598"/>
                  <a:gd name="connsiteX0" fmla="*/ 0 w 1657264"/>
                  <a:gd name="connsiteY0" fmla="*/ 499952 h 514253"/>
                  <a:gd name="connsiteX1" fmla="*/ 191482 w 1657264"/>
                  <a:gd name="connsiteY1" fmla="*/ 42656 h 514253"/>
                  <a:gd name="connsiteX2" fmla="*/ 475927 w 1657264"/>
                  <a:gd name="connsiteY2" fmla="*/ 46000 h 514253"/>
                  <a:gd name="connsiteX3" fmla="*/ 1655607 w 1657264"/>
                  <a:gd name="connsiteY3" fmla="*/ 274289 h 514253"/>
                  <a:gd name="connsiteX4" fmla="*/ 191482 w 1657264"/>
                  <a:gd name="connsiteY4" fmla="*/ 505922 h 514253"/>
                  <a:gd name="connsiteX5" fmla="*/ 0 w 1657264"/>
                  <a:gd name="connsiteY5" fmla="*/ 499952 h 514253"/>
                  <a:gd name="connsiteX0" fmla="*/ 18837 w 1676101"/>
                  <a:gd name="connsiteY0" fmla="*/ 499952 h 549819"/>
                  <a:gd name="connsiteX1" fmla="*/ 210319 w 1676101"/>
                  <a:gd name="connsiteY1" fmla="*/ 42656 h 549819"/>
                  <a:gd name="connsiteX2" fmla="*/ 494764 w 1676101"/>
                  <a:gd name="connsiteY2" fmla="*/ 46000 h 549819"/>
                  <a:gd name="connsiteX3" fmla="*/ 1674444 w 1676101"/>
                  <a:gd name="connsiteY3" fmla="*/ 274289 h 549819"/>
                  <a:gd name="connsiteX4" fmla="*/ 210319 w 1676101"/>
                  <a:gd name="connsiteY4" fmla="*/ 505922 h 549819"/>
                  <a:gd name="connsiteX5" fmla="*/ 18837 w 1676101"/>
                  <a:gd name="connsiteY5" fmla="*/ 499952 h 549819"/>
                  <a:gd name="connsiteX0" fmla="*/ 0 w 1657264"/>
                  <a:gd name="connsiteY0" fmla="*/ 499952 h 534471"/>
                  <a:gd name="connsiteX1" fmla="*/ 191482 w 1657264"/>
                  <a:gd name="connsiteY1" fmla="*/ 42656 h 534471"/>
                  <a:gd name="connsiteX2" fmla="*/ 475927 w 1657264"/>
                  <a:gd name="connsiteY2" fmla="*/ 46000 h 534471"/>
                  <a:gd name="connsiteX3" fmla="*/ 1655607 w 1657264"/>
                  <a:gd name="connsiteY3" fmla="*/ 274289 h 534471"/>
                  <a:gd name="connsiteX4" fmla="*/ 191482 w 1657264"/>
                  <a:gd name="connsiteY4" fmla="*/ 505922 h 534471"/>
                  <a:gd name="connsiteX5" fmla="*/ 0 w 1657264"/>
                  <a:gd name="connsiteY5" fmla="*/ 499952 h 534471"/>
                  <a:gd name="connsiteX0" fmla="*/ 0 w 1657264"/>
                  <a:gd name="connsiteY0" fmla="*/ 453952 h 488471"/>
                  <a:gd name="connsiteX1" fmla="*/ 475927 w 1657264"/>
                  <a:gd name="connsiteY1" fmla="*/ 0 h 488471"/>
                  <a:gd name="connsiteX2" fmla="*/ 1655607 w 1657264"/>
                  <a:gd name="connsiteY2" fmla="*/ 228289 h 488471"/>
                  <a:gd name="connsiteX3" fmla="*/ 191482 w 1657264"/>
                  <a:gd name="connsiteY3" fmla="*/ 459922 h 488471"/>
                  <a:gd name="connsiteX4" fmla="*/ 0 w 1657264"/>
                  <a:gd name="connsiteY4" fmla="*/ 453952 h 488471"/>
                  <a:gd name="connsiteX0" fmla="*/ 0 w 1657264"/>
                  <a:gd name="connsiteY0" fmla="*/ 453952 h 488471"/>
                  <a:gd name="connsiteX1" fmla="*/ 475927 w 1657264"/>
                  <a:gd name="connsiteY1" fmla="*/ 0 h 488471"/>
                  <a:gd name="connsiteX2" fmla="*/ 1655607 w 1657264"/>
                  <a:gd name="connsiteY2" fmla="*/ 228289 h 488471"/>
                  <a:gd name="connsiteX3" fmla="*/ 191482 w 1657264"/>
                  <a:gd name="connsiteY3" fmla="*/ 459922 h 488471"/>
                  <a:gd name="connsiteX4" fmla="*/ 0 w 1657264"/>
                  <a:gd name="connsiteY4" fmla="*/ 453952 h 488471"/>
                  <a:gd name="connsiteX0" fmla="*/ 224293 w 1881557"/>
                  <a:gd name="connsiteY0" fmla="*/ 453952 h 669400"/>
                  <a:gd name="connsiteX1" fmla="*/ 700220 w 1881557"/>
                  <a:gd name="connsiteY1" fmla="*/ 0 h 669400"/>
                  <a:gd name="connsiteX2" fmla="*/ 1879900 w 1881557"/>
                  <a:gd name="connsiteY2" fmla="*/ 228289 h 669400"/>
                  <a:gd name="connsiteX3" fmla="*/ 415775 w 1881557"/>
                  <a:gd name="connsiteY3" fmla="*/ 459922 h 669400"/>
                  <a:gd name="connsiteX4" fmla="*/ 224293 w 1881557"/>
                  <a:gd name="connsiteY4" fmla="*/ 453952 h 669400"/>
                  <a:gd name="connsiteX0" fmla="*/ 3267 w 1660531"/>
                  <a:gd name="connsiteY0" fmla="*/ 453952 h 473844"/>
                  <a:gd name="connsiteX1" fmla="*/ 479194 w 1660531"/>
                  <a:gd name="connsiteY1" fmla="*/ 0 h 473844"/>
                  <a:gd name="connsiteX2" fmla="*/ 1658874 w 1660531"/>
                  <a:gd name="connsiteY2" fmla="*/ 228289 h 473844"/>
                  <a:gd name="connsiteX3" fmla="*/ 194749 w 1660531"/>
                  <a:gd name="connsiteY3" fmla="*/ 459922 h 473844"/>
                  <a:gd name="connsiteX4" fmla="*/ 3267 w 1660531"/>
                  <a:gd name="connsiteY4" fmla="*/ 453952 h 473844"/>
                  <a:gd name="connsiteX0" fmla="*/ 3267 w 1663904"/>
                  <a:gd name="connsiteY0" fmla="*/ 453952 h 473844"/>
                  <a:gd name="connsiteX1" fmla="*/ 479194 w 1663904"/>
                  <a:gd name="connsiteY1" fmla="*/ 0 h 473844"/>
                  <a:gd name="connsiteX2" fmla="*/ 1658874 w 1663904"/>
                  <a:gd name="connsiteY2" fmla="*/ 228289 h 473844"/>
                  <a:gd name="connsiteX3" fmla="*/ 194749 w 1663904"/>
                  <a:gd name="connsiteY3" fmla="*/ 459922 h 473844"/>
                  <a:gd name="connsiteX4" fmla="*/ 3267 w 1663904"/>
                  <a:gd name="connsiteY4" fmla="*/ 453952 h 473844"/>
                  <a:gd name="connsiteX0" fmla="*/ 3267 w 1663904"/>
                  <a:gd name="connsiteY0" fmla="*/ 453952 h 473844"/>
                  <a:gd name="connsiteX1" fmla="*/ 479194 w 1663904"/>
                  <a:gd name="connsiteY1" fmla="*/ 0 h 473844"/>
                  <a:gd name="connsiteX2" fmla="*/ 1658874 w 1663904"/>
                  <a:gd name="connsiteY2" fmla="*/ 228289 h 473844"/>
                  <a:gd name="connsiteX3" fmla="*/ 194749 w 1663904"/>
                  <a:gd name="connsiteY3" fmla="*/ 459922 h 473844"/>
                  <a:gd name="connsiteX4" fmla="*/ 3267 w 1663904"/>
                  <a:gd name="connsiteY4" fmla="*/ 453952 h 473844"/>
                  <a:gd name="connsiteX0" fmla="*/ 3267 w 1664010"/>
                  <a:gd name="connsiteY0" fmla="*/ 453952 h 473844"/>
                  <a:gd name="connsiteX1" fmla="*/ 479194 w 1664010"/>
                  <a:gd name="connsiteY1" fmla="*/ 0 h 473844"/>
                  <a:gd name="connsiteX2" fmla="*/ 1658874 w 1664010"/>
                  <a:gd name="connsiteY2" fmla="*/ 228289 h 473844"/>
                  <a:gd name="connsiteX3" fmla="*/ 194749 w 1664010"/>
                  <a:gd name="connsiteY3" fmla="*/ 459922 h 473844"/>
                  <a:gd name="connsiteX4" fmla="*/ 3267 w 1664010"/>
                  <a:gd name="connsiteY4" fmla="*/ 453952 h 473844"/>
                  <a:gd name="connsiteX0" fmla="*/ 6523 w 1667266"/>
                  <a:gd name="connsiteY0" fmla="*/ 453952 h 476761"/>
                  <a:gd name="connsiteX1" fmla="*/ 482450 w 1667266"/>
                  <a:gd name="connsiteY1" fmla="*/ 0 h 476761"/>
                  <a:gd name="connsiteX2" fmla="*/ 1662130 w 1667266"/>
                  <a:gd name="connsiteY2" fmla="*/ 228289 h 476761"/>
                  <a:gd name="connsiteX3" fmla="*/ 198005 w 1667266"/>
                  <a:gd name="connsiteY3" fmla="*/ 459922 h 476761"/>
                  <a:gd name="connsiteX4" fmla="*/ 6523 w 1667266"/>
                  <a:gd name="connsiteY4" fmla="*/ 453952 h 476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67266" h="476761">
                    <a:moveTo>
                      <a:pt x="6523" y="453952"/>
                    </a:moveTo>
                    <a:cubicBezTo>
                      <a:pt x="484766" y="-7660"/>
                      <a:pt x="4619" y="458574"/>
                      <a:pt x="482450" y="0"/>
                    </a:cubicBezTo>
                    <a:cubicBezTo>
                      <a:pt x="749121" y="15537"/>
                      <a:pt x="1747287" y="113188"/>
                      <a:pt x="1662130" y="228289"/>
                    </a:cubicBezTo>
                    <a:cubicBezTo>
                      <a:pt x="1630311" y="342902"/>
                      <a:pt x="473939" y="422312"/>
                      <a:pt x="198005" y="459922"/>
                    </a:cubicBezTo>
                    <a:cubicBezTo>
                      <a:pt x="-77929" y="497532"/>
                      <a:pt x="19446" y="461471"/>
                      <a:pt x="6523" y="453952"/>
                    </a:cubicBezTo>
                    <a:close/>
                  </a:path>
                </a:pathLst>
              </a:custGeom>
              <a:gradFill flip="none" rotWithShape="1">
                <a:gsLst>
                  <a:gs pos="64000">
                    <a:srgbClr val="FF7711"/>
                  </a:gs>
                  <a:gs pos="80000">
                    <a:srgbClr val="FFAA01"/>
                  </a:gs>
                  <a:gs pos="100000">
                    <a:srgbClr val="FECE02"/>
                  </a:gs>
                  <a:gs pos="40000">
                    <a:srgbClr val="CC570B"/>
                  </a:gs>
                  <a:gs pos="0">
                    <a:srgbClr val="7D2701"/>
                  </a:gs>
                  <a:gs pos="94000">
                    <a:srgbClr val="FFC000"/>
                  </a:gs>
                </a:gsLst>
                <a:lin ang="18600000" scaled="0"/>
                <a:tileRect/>
              </a:gra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82" name="TextBox 81"/>
            <p:cNvSpPr txBox="1"/>
            <p:nvPr/>
          </p:nvSpPr>
          <p:spPr>
            <a:xfrm>
              <a:off x="4454101" y="3908254"/>
              <a:ext cx="80177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i="0" dirty="0" smtClean="0">
                  <a:ln w="12700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饮食习惯</a:t>
              </a:r>
              <a:endParaRPr lang="zh-CN" altLang="en-US" i="0" dirty="0">
                <a:ln w="12700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</p:grpSp>
      <p:grpSp>
        <p:nvGrpSpPr>
          <p:cNvPr id="84" name="组合 83"/>
          <p:cNvGrpSpPr/>
          <p:nvPr/>
        </p:nvGrpSpPr>
        <p:grpSpPr>
          <a:xfrm>
            <a:off x="1007067" y="3835109"/>
            <a:ext cx="2498353" cy="943438"/>
            <a:chOff x="1553888" y="3400856"/>
            <a:chExt cx="2057395" cy="898168"/>
          </a:xfrm>
        </p:grpSpPr>
        <p:cxnSp>
          <p:nvCxnSpPr>
            <p:cNvPr id="85" name="直接连接符 84"/>
            <p:cNvCxnSpPr/>
            <p:nvPr/>
          </p:nvCxnSpPr>
          <p:spPr>
            <a:xfrm>
              <a:off x="1611168" y="4299024"/>
              <a:ext cx="2000115" cy="0"/>
            </a:xfrm>
            <a:prstGeom prst="line">
              <a:avLst/>
            </a:prstGeom>
            <a:ln>
              <a:solidFill>
                <a:schemeClr val="tx1">
                  <a:lumMod val="85000"/>
                  <a:lumOff val="15000"/>
                </a:schemeClr>
              </a:solidFill>
              <a:prstDash val="sysDash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TextBox 11"/>
            <p:cNvSpPr txBox="1">
              <a:spLocks noChangeArrowheads="1"/>
            </p:cNvSpPr>
            <p:nvPr/>
          </p:nvSpPr>
          <p:spPr bwMode="auto">
            <a:xfrm flipH="1">
              <a:off x="1553888" y="3400856"/>
              <a:ext cx="1515989" cy="87902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i="0" kern="0" dirty="0">
                  <a:latin typeface="微软雅黑" pitchFamily="34" charset="-122"/>
                  <a:ea typeface="微软雅黑" pitchFamily="34" charset="-122"/>
                </a:rPr>
                <a:t>填写家庭</a:t>
              </a:r>
              <a:r>
                <a:rPr lang="zh-CN" altLang="en-US" i="0" kern="0" dirty="0" smtClean="0">
                  <a:latin typeface="微软雅黑" pitchFamily="34" charset="-122"/>
                  <a:ea typeface="微软雅黑" pitchFamily="34" charset="-122"/>
                </a:rPr>
                <a:t>连续</a:t>
              </a:r>
              <a:endParaRPr lang="en-US" altLang="zh-CN" i="0" kern="0" dirty="0" smtClean="0">
                <a:latin typeface="微软雅黑" pitchFamily="34" charset="-122"/>
                <a:ea typeface="微软雅黑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i="0" kern="0" dirty="0" smtClean="0">
                  <a:latin typeface="微软雅黑" pitchFamily="34" charset="-122"/>
                  <a:ea typeface="微软雅黑" pitchFamily="34" charset="-122"/>
                </a:rPr>
                <a:t>7</a:t>
              </a:r>
              <a:r>
                <a:rPr lang="zh-CN" altLang="en-US" i="0" kern="0" dirty="0">
                  <a:latin typeface="微软雅黑" pitchFamily="34" charset="-122"/>
                  <a:ea typeface="微软雅黑" pitchFamily="34" charset="-122"/>
                </a:rPr>
                <a:t>天米面油盐的用量</a:t>
              </a:r>
              <a:endParaRPr lang="en-US" altLang="zh-CN" i="0" kern="0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92" name="组合 91"/>
          <p:cNvGrpSpPr/>
          <p:nvPr/>
        </p:nvGrpSpPr>
        <p:grpSpPr>
          <a:xfrm>
            <a:off x="5319856" y="3834580"/>
            <a:ext cx="2895595" cy="933913"/>
            <a:chOff x="1042346" y="3409924"/>
            <a:chExt cx="2403006" cy="889100"/>
          </a:xfrm>
        </p:grpSpPr>
        <p:cxnSp>
          <p:nvCxnSpPr>
            <p:cNvPr id="93" name="直接连接符 92"/>
            <p:cNvCxnSpPr/>
            <p:nvPr/>
          </p:nvCxnSpPr>
          <p:spPr>
            <a:xfrm flipH="1">
              <a:off x="1042346" y="4299024"/>
              <a:ext cx="2403006" cy="0"/>
            </a:xfrm>
            <a:prstGeom prst="line">
              <a:avLst/>
            </a:prstGeom>
            <a:ln>
              <a:solidFill>
                <a:schemeClr val="tx1">
                  <a:lumMod val="85000"/>
                  <a:lumOff val="15000"/>
                </a:schemeClr>
              </a:solidFill>
              <a:prstDash val="sysDash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TextBox 11"/>
            <p:cNvSpPr txBox="1">
              <a:spLocks noChangeArrowheads="1"/>
            </p:cNvSpPr>
            <p:nvPr/>
          </p:nvSpPr>
          <p:spPr bwMode="auto">
            <a:xfrm flipH="1">
              <a:off x="1846359" y="3409924"/>
              <a:ext cx="1515881" cy="87902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i="0" kern="0" dirty="0" smtClean="0">
                  <a:latin typeface="微软雅黑" pitchFamily="34" charset="-122"/>
                  <a:ea typeface="微软雅黑" pitchFamily="34" charset="-122"/>
                </a:rPr>
                <a:t>填写提交者</a:t>
              </a:r>
              <a:endParaRPr lang="en-US" altLang="zh-CN" i="0" kern="0" dirty="0" smtClean="0">
                <a:latin typeface="微软雅黑" pitchFamily="34" charset="-122"/>
                <a:ea typeface="微软雅黑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i="0" kern="0" dirty="0" smtClean="0">
                  <a:latin typeface="微软雅黑" pitchFamily="34" charset="-122"/>
                  <a:ea typeface="微软雅黑" pitchFamily="34" charset="-122"/>
                </a:rPr>
                <a:t>个人</a:t>
              </a:r>
              <a:r>
                <a:rPr lang="zh-CN" altLang="en-US" i="0" kern="0" dirty="0">
                  <a:latin typeface="微软雅黑" pitchFamily="34" charset="-122"/>
                  <a:ea typeface="微软雅黑" pitchFamily="34" charset="-122"/>
                </a:rPr>
                <a:t>日常</a:t>
              </a:r>
              <a:r>
                <a:rPr lang="zh-CN" altLang="en-US" i="0" kern="0" dirty="0" smtClean="0">
                  <a:latin typeface="微软雅黑" pitchFamily="34" charset="-122"/>
                  <a:ea typeface="微软雅黑" pitchFamily="34" charset="-122"/>
                </a:rPr>
                <a:t>饮食</a:t>
              </a:r>
              <a:endParaRPr lang="en-US" altLang="zh-CN" i="0" kern="0" dirty="0" smtClean="0">
                <a:latin typeface="微软雅黑" pitchFamily="34" charset="-122"/>
                <a:ea typeface="微软雅黑" pitchFamily="34" charset="-122"/>
              </a:endParaRP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i="0" kern="0" dirty="0" smtClean="0">
                  <a:latin typeface="微软雅黑" pitchFamily="34" charset="-122"/>
                  <a:ea typeface="微软雅黑" pitchFamily="34" charset="-122"/>
                </a:rPr>
                <a:t>习惯</a:t>
              </a:r>
              <a:r>
                <a:rPr lang="zh-CN" altLang="en-US" i="0" kern="0" dirty="0">
                  <a:latin typeface="微软雅黑" pitchFamily="34" charset="-122"/>
                  <a:ea typeface="微软雅黑" pitchFamily="34" charset="-122"/>
                </a:rPr>
                <a:t>信息</a:t>
              </a:r>
              <a:endParaRPr lang="en-US" altLang="zh-CN" i="0" kern="0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97" name="组合 96"/>
          <p:cNvGrpSpPr/>
          <p:nvPr/>
        </p:nvGrpSpPr>
        <p:grpSpPr>
          <a:xfrm>
            <a:off x="2667740" y="1733483"/>
            <a:ext cx="2212538" cy="1774316"/>
            <a:chOff x="2639165" y="1771583"/>
            <a:chExt cx="2212538" cy="1774316"/>
          </a:xfrm>
        </p:grpSpPr>
        <p:grpSp>
          <p:nvGrpSpPr>
            <p:cNvPr id="63" name="组合 62"/>
            <p:cNvGrpSpPr/>
            <p:nvPr/>
          </p:nvGrpSpPr>
          <p:grpSpPr>
            <a:xfrm>
              <a:off x="2639165" y="1771583"/>
              <a:ext cx="2212538" cy="1774316"/>
              <a:chOff x="76892" y="1527333"/>
              <a:chExt cx="2106372" cy="1689178"/>
            </a:xfrm>
          </p:grpSpPr>
          <p:sp>
            <p:nvSpPr>
              <p:cNvPr id="64" name="椭圆 6"/>
              <p:cNvSpPr/>
              <p:nvPr/>
            </p:nvSpPr>
            <p:spPr>
              <a:xfrm rot="13536182" flipH="1">
                <a:off x="409945" y="1428074"/>
                <a:ext cx="1440265" cy="2106372"/>
              </a:xfrm>
              <a:custGeom>
                <a:avLst/>
                <a:gdLst>
                  <a:gd name="connsiteX0" fmla="*/ 1337568 w 2295129"/>
                  <a:gd name="connsiteY0" fmla="*/ 129 h 2275542"/>
                  <a:gd name="connsiteX1" fmla="*/ 2295129 w 2295129"/>
                  <a:gd name="connsiteY1" fmla="*/ 404830 h 2275542"/>
                  <a:gd name="connsiteX2" fmla="*/ 384531 w 2295129"/>
                  <a:gd name="connsiteY2" fmla="*/ 2275542 h 2275542"/>
                  <a:gd name="connsiteX3" fmla="*/ 0 w 2295129"/>
                  <a:gd name="connsiteY3" fmla="*/ 1337697 h 2275542"/>
                  <a:gd name="connsiteX4" fmla="*/ 405974 w 2295129"/>
                  <a:gd name="connsiteY4" fmla="*/ 373226 h 2275542"/>
                  <a:gd name="connsiteX5" fmla="*/ 1337568 w 2295129"/>
                  <a:gd name="connsiteY5" fmla="*/ 129 h 2275542"/>
                  <a:gd name="connsiteX0" fmla="*/ 1337568 w 1463983"/>
                  <a:gd name="connsiteY0" fmla="*/ 129 h 2275542"/>
                  <a:gd name="connsiteX1" fmla="*/ 1350589 w 1463983"/>
                  <a:gd name="connsiteY1" fmla="*/ 1078446 h 2275542"/>
                  <a:gd name="connsiteX2" fmla="*/ 384531 w 1463983"/>
                  <a:gd name="connsiteY2" fmla="*/ 2275542 h 2275542"/>
                  <a:gd name="connsiteX3" fmla="*/ 0 w 1463983"/>
                  <a:gd name="connsiteY3" fmla="*/ 1337697 h 2275542"/>
                  <a:gd name="connsiteX4" fmla="*/ 405974 w 1463983"/>
                  <a:gd name="connsiteY4" fmla="*/ 373226 h 2275542"/>
                  <a:gd name="connsiteX5" fmla="*/ 1337568 w 1463983"/>
                  <a:gd name="connsiteY5" fmla="*/ 129 h 2275542"/>
                  <a:gd name="connsiteX0" fmla="*/ 405974 w 1350602"/>
                  <a:gd name="connsiteY0" fmla="*/ 3009 h 1905325"/>
                  <a:gd name="connsiteX1" fmla="*/ 1350589 w 1350602"/>
                  <a:gd name="connsiteY1" fmla="*/ 708229 h 1905325"/>
                  <a:gd name="connsiteX2" fmla="*/ 384531 w 1350602"/>
                  <a:gd name="connsiteY2" fmla="*/ 1905325 h 1905325"/>
                  <a:gd name="connsiteX3" fmla="*/ 0 w 1350602"/>
                  <a:gd name="connsiteY3" fmla="*/ 967480 h 1905325"/>
                  <a:gd name="connsiteX4" fmla="*/ 405974 w 1350602"/>
                  <a:gd name="connsiteY4" fmla="*/ 3009 h 1905325"/>
                  <a:gd name="connsiteX0" fmla="*/ 405974 w 1350602"/>
                  <a:gd name="connsiteY0" fmla="*/ 3009 h 1905325"/>
                  <a:gd name="connsiteX1" fmla="*/ 1350589 w 1350602"/>
                  <a:gd name="connsiteY1" fmla="*/ 708229 h 1905325"/>
                  <a:gd name="connsiteX2" fmla="*/ 384531 w 1350602"/>
                  <a:gd name="connsiteY2" fmla="*/ 1905325 h 1905325"/>
                  <a:gd name="connsiteX3" fmla="*/ 0 w 1350602"/>
                  <a:gd name="connsiteY3" fmla="*/ 967480 h 1905325"/>
                  <a:gd name="connsiteX4" fmla="*/ 405974 w 1350602"/>
                  <a:gd name="connsiteY4" fmla="*/ 3009 h 1905325"/>
                  <a:gd name="connsiteX0" fmla="*/ 405974 w 1350589"/>
                  <a:gd name="connsiteY0" fmla="*/ 2507 h 1904823"/>
                  <a:gd name="connsiteX1" fmla="*/ 1350589 w 1350589"/>
                  <a:gd name="connsiteY1" fmla="*/ 707727 h 1904823"/>
                  <a:gd name="connsiteX2" fmla="*/ 384531 w 1350589"/>
                  <a:gd name="connsiteY2" fmla="*/ 1904823 h 1904823"/>
                  <a:gd name="connsiteX3" fmla="*/ 0 w 1350589"/>
                  <a:gd name="connsiteY3" fmla="*/ 966978 h 1904823"/>
                  <a:gd name="connsiteX4" fmla="*/ 405974 w 1350589"/>
                  <a:gd name="connsiteY4" fmla="*/ 2507 h 1904823"/>
                  <a:gd name="connsiteX0" fmla="*/ 405974 w 1374471"/>
                  <a:gd name="connsiteY0" fmla="*/ 2507 h 1908886"/>
                  <a:gd name="connsiteX1" fmla="*/ 1350589 w 1374471"/>
                  <a:gd name="connsiteY1" fmla="*/ 707727 h 1908886"/>
                  <a:gd name="connsiteX2" fmla="*/ 1032107 w 1374471"/>
                  <a:gd name="connsiteY2" fmla="*/ 1283445 h 1908886"/>
                  <a:gd name="connsiteX3" fmla="*/ 384531 w 1374471"/>
                  <a:gd name="connsiteY3" fmla="*/ 1904823 h 1908886"/>
                  <a:gd name="connsiteX4" fmla="*/ 0 w 1374471"/>
                  <a:gd name="connsiteY4" fmla="*/ 966978 h 1908886"/>
                  <a:gd name="connsiteX5" fmla="*/ 405974 w 1374471"/>
                  <a:gd name="connsiteY5" fmla="*/ 2507 h 1908886"/>
                  <a:gd name="connsiteX0" fmla="*/ 405974 w 1423807"/>
                  <a:gd name="connsiteY0" fmla="*/ 2507 h 1908687"/>
                  <a:gd name="connsiteX1" fmla="*/ 1350589 w 1423807"/>
                  <a:gd name="connsiteY1" fmla="*/ 707727 h 1908687"/>
                  <a:gd name="connsiteX2" fmla="*/ 1296044 w 1423807"/>
                  <a:gd name="connsiteY2" fmla="*/ 1256928 h 1908687"/>
                  <a:gd name="connsiteX3" fmla="*/ 384531 w 1423807"/>
                  <a:gd name="connsiteY3" fmla="*/ 1904823 h 1908687"/>
                  <a:gd name="connsiteX4" fmla="*/ 0 w 1423807"/>
                  <a:gd name="connsiteY4" fmla="*/ 966978 h 1908687"/>
                  <a:gd name="connsiteX5" fmla="*/ 405974 w 1423807"/>
                  <a:gd name="connsiteY5" fmla="*/ 2507 h 1908687"/>
                  <a:gd name="connsiteX0" fmla="*/ 405974 w 1385391"/>
                  <a:gd name="connsiteY0" fmla="*/ 2507 h 1908687"/>
                  <a:gd name="connsiteX1" fmla="*/ 1350589 w 1385391"/>
                  <a:gd name="connsiteY1" fmla="*/ 707727 h 1908687"/>
                  <a:gd name="connsiteX2" fmla="*/ 1296044 w 1385391"/>
                  <a:gd name="connsiteY2" fmla="*/ 1256928 h 1908687"/>
                  <a:gd name="connsiteX3" fmla="*/ 384531 w 1385391"/>
                  <a:gd name="connsiteY3" fmla="*/ 1904823 h 1908687"/>
                  <a:gd name="connsiteX4" fmla="*/ 0 w 1385391"/>
                  <a:gd name="connsiteY4" fmla="*/ 966978 h 1908687"/>
                  <a:gd name="connsiteX5" fmla="*/ 405974 w 1385391"/>
                  <a:gd name="connsiteY5" fmla="*/ 2507 h 1908687"/>
                  <a:gd name="connsiteX0" fmla="*/ 405974 w 1350589"/>
                  <a:gd name="connsiteY0" fmla="*/ 2507 h 1908687"/>
                  <a:gd name="connsiteX1" fmla="*/ 1350589 w 1350589"/>
                  <a:gd name="connsiteY1" fmla="*/ 707727 h 1908687"/>
                  <a:gd name="connsiteX2" fmla="*/ 1296044 w 1350589"/>
                  <a:gd name="connsiteY2" fmla="*/ 1256928 h 1908687"/>
                  <a:gd name="connsiteX3" fmla="*/ 384531 w 1350589"/>
                  <a:gd name="connsiteY3" fmla="*/ 1904823 h 1908687"/>
                  <a:gd name="connsiteX4" fmla="*/ 0 w 1350589"/>
                  <a:gd name="connsiteY4" fmla="*/ 966978 h 1908687"/>
                  <a:gd name="connsiteX5" fmla="*/ 405974 w 1350589"/>
                  <a:gd name="connsiteY5" fmla="*/ 2507 h 1908687"/>
                  <a:gd name="connsiteX0" fmla="*/ 405974 w 1350589"/>
                  <a:gd name="connsiteY0" fmla="*/ 2507 h 1908588"/>
                  <a:gd name="connsiteX1" fmla="*/ 1350589 w 1350589"/>
                  <a:gd name="connsiteY1" fmla="*/ 707727 h 1908588"/>
                  <a:gd name="connsiteX2" fmla="*/ 1320607 w 1350589"/>
                  <a:gd name="connsiteY2" fmla="*/ 1242539 h 1908588"/>
                  <a:gd name="connsiteX3" fmla="*/ 384531 w 1350589"/>
                  <a:gd name="connsiteY3" fmla="*/ 1904823 h 1908588"/>
                  <a:gd name="connsiteX4" fmla="*/ 0 w 1350589"/>
                  <a:gd name="connsiteY4" fmla="*/ 966978 h 1908588"/>
                  <a:gd name="connsiteX5" fmla="*/ 405974 w 1350589"/>
                  <a:gd name="connsiteY5" fmla="*/ 2507 h 1908588"/>
                  <a:gd name="connsiteX0" fmla="*/ 405974 w 1350589"/>
                  <a:gd name="connsiteY0" fmla="*/ 2507 h 1908588"/>
                  <a:gd name="connsiteX1" fmla="*/ 1350589 w 1350589"/>
                  <a:gd name="connsiteY1" fmla="*/ 707727 h 1908588"/>
                  <a:gd name="connsiteX2" fmla="*/ 1320607 w 1350589"/>
                  <a:gd name="connsiteY2" fmla="*/ 1242539 h 1908588"/>
                  <a:gd name="connsiteX3" fmla="*/ 384531 w 1350589"/>
                  <a:gd name="connsiteY3" fmla="*/ 1904823 h 1908588"/>
                  <a:gd name="connsiteX4" fmla="*/ 0 w 1350589"/>
                  <a:gd name="connsiteY4" fmla="*/ 966978 h 1908588"/>
                  <a:gd name="connsiteX5" fmla="*/ 405974 w 1350589"/>
                  <a:gd name="connsiteY5" fmla="*/ 2507 h 1908588"/>
                  <a:gd name="connsiteX0" fmla="*/ 405974 w 1350589"/>
                  <a:gd name="connsiteY0" fmla="*/ 2507 h 1908588"/>
                  <a:gd name="connsiteX1" fmla="*/ 1350589 w 1350589"/>
                  <a:gd name="connsiteY1" fmla="*/ 707727 h 1908588"/>
                  <a:gd name="connsiteX2" fmla="*/ 1320607 w 1350589"/>
                  <a:gd name="connsiteY2" fmla="*/ 1242539 h 1908588"/>
                  <a:gd name="connsiteX3" fmla="*/ 384531 w 1350589"/>
                  <a:gd name="connsiteY3" fmla="*/ 1904823 h 1908588"/>
                  <a:gd name="connsiteX4" fmla="*/ 0 w 1350589"/>
                  <a:gd name="connsiteY4" fmla="*/ 966978 h 1908588"/>
                  <a:gd name="connsiteX5" fmla="*/ 405974 w 1350589"/>
                  <a:gd name="connsiteY5" fmla="*/ 2507 h 1908588"/>
                  <a:gd name="connsiteX0" fmla="*/ 405974 w 1635550"/>
                  <a:gd name="connsiteY0" fmla="*/ 2507 h 1907357"/>
                  <a:gd name="connsiteX1" fmla="*/ 1350589 w 1635550"/>
                  <a:gd name="connsiteY1" fmla="*/ 707727 h 1907357"/>
                  <a:gd name="connsiteX2" fmla="*/ 1634847 w 1635550"/>
                  <a:gd name="connsiteY2" fmla="*/ 972332 h 1907357"/>
                  <a:gd name="connsiteX3" fmla="*/ 384531 w 1635550"/>
                  <a:gd name="connsiteY3" fmla="*/ 1904823 h 1907357"/>
                  <a:gd name="connsiteX4" fmla="*/ 0 w 1635550"/>
                  <a:gd name="connsiteY4" fmla="*/ 966978 h 1907357"/>
                  <a:gd name="connsiteX5" fmla="*/ 405974 w 1635550"/>
                  <a:gd name="connsiteY5" fmla="*/ 2507 h 1907357"/>
                  <a:gd name="connsiteX0" fmla="*/ 405974 w 1634847"/>
                  <a:gd name="connsiteY0" fmla="*/ 2507 h 1907357"/>
                  <a:gd name="connsiteX1" fmla="*/ 1350589 w 1634847"/>
                  <a:gd name="connsiteY1" fmla="*/ 707727 h 1907357"/>
                  <a:gd name="connsiteX2" fmla="*/ 1634847 w 1634847"/>
                  <a:gd name="connsiteY2" fmla="*/ 972332 h 1907357"/>
                  <a:gd name="connsiteX3" fmla="*/ 384531 w 1634847"/>
                  <a:gd name="connsiteY3" fmla="*/ 1904823 h 1907357"/>
                  <a:gd name="connsiteX4" fmla="*/ 0 w 1634847"/>
                  <a:gd name="connsiteY4" fmla="*/ 966978 h 1907357"/>
                  <a:gd name="connsiteX5" fmla="*/ 405974 w 1634847"/>
                  <a:gd name="connsiteY5" fmla="*/ 2507 h 1907357"/>
                  <a:gd name="connsiteX0" fmla="*/ 405974 w 1634847"/>
                  <a:gd name="connsiteY0" fmla="*/ 2507 h 1907357"/>
                  <a:gd name="connsiteX1" fmla="*/ 1350589 w 1634847"/>
                  <a:gd name="connsiteY1" fmla="*/ 707727 h 1907357"/>
                  <a:gd name="connsiteX2" fmla="*/ 1634847 w 1634847"/>
                  <a:gd name="connsiteY2" fmla="*/ 972332 h 1907357"/>
                  <a:gd name="connsiteX3" fmla="*/ 384531 w 1634847"/>
                  <a:gd name="connsiteY3" fmla="*/ 1904823 h 1907357"/>
                  <a:gd name="connsiteX4" fmla="*/ 0 w 1634847"/>
                  <a:gd name="connsiteY4" fmla="*/ 966978 h 1907357"/>
                  <a:gd name="connsiteX5" fmla="*/ 405974 w 1634847"/>
                  <a:gd name="connsiteY5" fmla="*/ 2507 h 1907357"/>
                  <a:gd name="connsiteX0" fmla="*/ 405974 w 1634847"/>
                  <a:gd name="connsiteY0" fmla="*/ 2507 h 1907357"/>
                  <a:gd name="connsiteX1" fmla="*/ 1350589 w 1634847"/>
                  <a:gd name="connsiteY1" fmla="*/ 707727 h 1907357"/>
                  <a:gd name="connsiteX2" fmla="*/ 1634847 w 1634847"/>
                  <a:gd name="connsiteY2" fmla="*/ 972332 h 1907357"/>
                  <a:gd name="connsiteX3" fmla="*/ 384531 w 1634847"/>
                  <a:gd name="connsiteY3" fmla="*/ 1904823 h 1907357"/>
                  <a:gd name="connsiteX4" fmla="*/ 0 w 1634847"/>
                  <a:gd name="connsiteY4" fmla="*/ 966978 h 1907357"/>
                  <a:gd name="connsiteX5" fmla="*/ 405974 w 1634847"/>
                  <a:gd name="connsiteY5" fmla="*/ 2507 h 1907357"/>
                  <a:gd name="connsiteX0" fmla="*/ 405974 w 1619626"/>
                  <a:gd name="connsiteY0" fmla="*/ 2507 h 1907402"/>
                  <a:gd name="connsiteX1" fmla="*/ 1350589 w 1619626"/>
                  <a:gd name="connsiteY1" fmla="*/ 707727 h 1907402"/>
                  <a:gd name="connsiteX2" fmla="*/ 1619626 w 1619626"/>
                  <a:gd name="connsiteY2" fmla="*/ 986824 h 1907402"/>
                  <a:gd name="connsiteX3" fmla="*/ 384531 w 1619626"/>
                  <a:gd name="connsiteY3" fmla="*/ 1904823 h 1907402"/>
                  <a:gd name="connsiteX4" fmla="*/ 0 w 1619626"/>
                  <a:gd name="connsiteY4" fmla="*/ 966978 h 1907402"/>
                  <a:gd name="connsiteX5" fmla="*/ 405974 w 1619626"/>
                  <a:gd name="connsiteY5" fmla="*/ 2507 h 1907402"/>
                  <a:gd name="connsiteX0" fmla="*/ 405974 w 1619626"/>
                  <a:gd name="connsiteY0" fmla="*/ 2507 h 1907402"/>
                  <a:gd name="connsiteX1" fmla="*/ 1350589 w 1619626"/>
                  <a:gd name="connsiteY1" fmla="*/ 707727 h 1907402"/>
                  <a:gd name="connsiteX2" fmla="*/ 1619626 w 1619626"/>
                  <a:gd name="connsiteY2" fmla="*/ 986824 h 1907402"/>
                  <a:gd name="connsiteX3" fmla="*/ 384531 w 1619626"/>
                  <a:gd name="connsiteY3" fmla="*/ 1904823 h 1907402"/>
                  <a:gd name="connsiteX4" fmla="*/ 0 w 1619626"/>
                  <a:gd name="connsiteY4" fmla="*/ 966978 h 1907402"/>
                  <a:gd name="connsiteX5" fmla="*/ 405974 w 1619626"/>
                  <a:gd name="connsiteY5" fmla="*/ 2507 h 1907402"/>
                  <a:gd name="connsiteX0" fmla="*/ 405974 w 1619626"/>
                  <a:gd name="connsiteY0" fmla="*/ 2876 h 1907771"/>
                  <a:gd name="connsiteX1" fmla="*/ 1426693 w 1619626"/>
                  <a:gd name="connsiteY1" fmla="*/ 635637 h 1907771"/>
                  <a:gd name="connsiteX2" fmla="*/ 1619626 w 1619626"/>
                  <a:gd name="connsiteY2" fmla="*/ 987193 h 1907771"/>
                  <a:gd name="connsiteX3" fmla="*/ 384531 w 1619626"/>
                  <a:gd name="connsiteY3" fmla="*/ 1905192 h 1907771"/>
                  <a:gd name="connsiteX4" fmla="*/ 0 w 1619626"/>
                  <a:gd name="connsiteY4" fmla="*/ 967347 h 1907771"/>
                  <a:gd name="connsiteX5" fmla="*/ 405974 w 1619626"/>
                  <a:gd name="connsiteY5" fmla="*/ 2876 h 1907771"/>
                  <a:gd name="connsiteX0" fmla="*/ 405974 w 1619626"/>
                  <a:gd name="connsiteY0" fmla="*/ 2876 h 1907771"/>
                  <a:gd name="connsiteX1" fmla="*/ 1426693 w 1619626"/>
                  <a:gd name="connsiteY1" fmla="*/ 635637 h 1907771"/>
                  <a:gd name="connsiteX2" fmla="*/ 1619626 w 1619626"/>
                  <a:gd name="connsiteY2" fmla="*/ 987193 h 1907771"/>
                  <a:gd name="connsiteX3" fmla="*/ 384531 w 1619626"/>
                  <a:gd name="connsiteY3" fmla="*/ 1905192 h 1907771"/>
                  <a:gd name="connsiteX4" fmla="*/ 0 w 1619626"/>
                  <a:gd name="connsiteY4" fmla="*/ 967347 h 1907771"/>
                  <a:gd name="connsiteX5" fmla="*/ 405974 w 1619626"/>
                  <a:gd name="connsiteY5" fmla="*/ 2876 h 1907771"/>
                  <a:gd name="connsiteX0" fmla="*/ 405974 w 1619626"/>
                  <a:gd name="connsiteY0" fmla="*/ 2572 h 1907467"/>
                  <a:gd name="connsiteX1" fmla="*/ 1385894 w 1619626"/>
                  <a:gd name="connsiteY1" fmla="*/ 693505 h 1907467"/>
                  <a:gd name="connsiteX2" fmla="*/ 1619626 w 1619626"/>
                  <a:gd name="connsiteY2" fmla="*/ 986889 h 1907467"/>
                  <a:gd name="connsiteX3" fmla="*/ 384531 w 1619626"/>
                  <a:gd name="connsiteY3" fmla="*/ 1904888 h 1907467"/>
                  <a:gd name="connsiteX4" fmla="*/ 0 w 1619626"/>
                  <a:gd name="connsiteY4" fmla="*/ 967043 h 1907467"/>
                  <a:gd name="connsiteX5" fmla="*/ 405974 w 1619626"/>
                  <a:gd name="connsiteY5" fmla="*/ 2572 h 1907467"/>
                  <a:gd name="connsiteX0" fmla="*/ 405974 w 1619626"/>
                  <a:gd name="connsiteY0" fmla="*/ 2088 h 1906983"/>
                  <a:gd name="connsiteX1" fmla="*/ 1385894 w 1619626"/>
                  <a:gd name="connsiteY1" fmla="*/ 693021 h 1906983"/>
                  <a:gd name="connsiteX2" fmla="*/ 1619626 w 1619626"/>
                  <a:gd name="connsiteY2" fmla="*/ 986405 h 1906983"/>
                  <a:gd name="connsiteX3" fmla="*/ 384531 w 1619626"/>
                  <a:gd name="connsiteY3" fmla="*/ 1904404 h 1906983"/>
                  <a:gd name="connsiteX4" fmla="*/ 0 w 1619626"/>
                  <a:gd name="connsiteY4" fmla="*/ 966559 h 1906983"/>
                  <a:gd name="connsiteX5" fmla="*/ 405974 w 1619626"/>
                  <a:gd name="connsiteY5" fmla="*/ 2088 h 1906983"/>
                  <a:gd name="connsiteX0" fmla="*/ 405974 w 1619626"/>
                  <a:gd name="connsiteY0" fmla="*/ 2088 h 1906983"/>
                  <a:gd name="connsiteX1" fmla="*/ 1385894 w 1619626"/>
                  <a:gd name="connsiteY1" fmla="*/ 693021 h 1906983"/>
                  <a:gd name="connsiteX2" fmla="*/ 1619626 w 1619626"/>
                  <a:gd name="connsiteY2" fmla="*/ 986405 h 1906983"/>
                  <a:gd name="connsiteX3" fmla="*/ 384531 w 1619626"/>
                  <a:gd name="connsiteY3" fmla="*/ 1904404 h 1906983"/>
                  <a:gd name="connsiteX4" fmla="*/ 0 w 1619626"/>
                  <a:gd name="connsiteY4" fmla="*/ 966559 h 1906983"/>
                  <a:gd name="connsiteX5" fmla="*/ 405974 w 1619626"/>
                  <a:gd name="connsiteY5" fmla="*/ 2088 h 1906983"/>
                  <a:gd name="connsiteX0" fmla="*/ 405974 w 1619636"/>
                  <a:gd name="connsiteY0" fmla="*/ 0 h 1904895"/>
                  <a:gd name="connsiteX1" fmla="*/ 1619626 w 1619636"/>
                  <a:gd name="connsiteY1" fmla="*/ 984317 h 1904895"/>
                  <a:gd name="connsiteX2" fmla="*/ 384531 w 1619636"/>
                  <a:gd name="connsiteY2" fmla="*/ 1902316 h 1904895"/>
                  <a:gd name="connsiteX3" fmla="*/ 0 w 1619636"/>
                  <a:gd name="connsiteY3" fmla="*/ 964471 h 1904895"/>
                  <a:gd name="connsiteX4" fmla="*/ 405974 w 1619636"/>
                  <a:gd name="connsiteY4" fmla="*/ 0 h 1904895"/>
                  <a:gd name="connsiteX0" fmla="*/ 405974 w 1619626"/>
                  <a:gd name="connsiteY0" fmla="*/ 0 h 1904895"/>
                  <a:gd name="connsiteX1" fmla="*/ 1619626 w 1619626"/>
                  <a:gd name="connsiteY1" fmla="*/ 984317 h 1904895"/>
                  <a:gd name="connsiteX2" fmla="*/ 384531 w 1619626"/>
                  <a:gd name="connsiteY2" fmla="*/ 1902316 h 1904895"/>
                  <a:gd name="connsiteX3" fmla="*/ 0 w 1619626"/>
                  <a:gd name="connsiteY3" fmla="*/ 964471 h 1904895"/>
                  <a:gd name="connsiteX4" fmla="*/ 405974 w 1619626"/>
                  <a:gd name="connsiteY4" fmla="*/ 0 h 1904895"/>
                  <a:gd name="connsiteX0" fmla="*/ 405974 w 1619626"/>
                  <a:gd name="connsiteY0" fmla="*/ 658 h 1905553"/>
                  <a:gd name="connsiteX1" fmla="*/ 1619626 w 1619626"/>
                  <a:gd name="connsiteY1" fmla="*/ 984975 h 1905553"/>
                  <a:gd name="connsiteX2" fmla="*/ 384531 w 1619626"/>
                  <a:gd name="connsiteY2" fmla="*/ 1902974 h 1905553"/>
                  <a:gd name="connsiteX3" fmla="*/ 0 w 1619626"/>
                  <a:gd name="connsiteY3" fmla="*/ 965129 h 1905553"/>
                  <a:gd name="connsiteX4" fmla="*/ 405974 w 1619626"/>
                  <a:gd name="connsiteY4" fmla="*/ 658 h 1905553"/>
                  <a:gd name="connsiteX0" fmla="*/ 405974 w 1667963"/>
                  <a:gd name="connsiteY0" fmla="*/ 658 h 1906232"/>
                  <a:gd name="connsiteX1" fmla="*/ 1619626 w 1667963"/>
                  <a:gd name="connsiteY1" fmla="*/ 984975 h 1906232"/>
                  <a:gd name="connsiteX2" fmla="*/ 1325128 w 1667963"/>
                  <a:gd name="connsiteY2" fmla="*/ 1264086 h 1906232"/>
                  <a:gd name="connsiteX3" fmla="*/ 384531 w 1667963"/>
                  <a:gd name="connsiteY3" fmla="*/ 1902974 h 1906232"/>
                  <a:gd name="connsiteX4" fmla="*/ 0 w 1667963"/>
                  <a:gd name="connsiteY4" fmla="*/ 965129 h 1906232"/>
                  <a:gd name="connsiteX5" fmla="*/ 405974 w 1667963"/>
                  <a:gd name="connsiteY5" fmla="*/ 658 h 1906232"/>
                  <a:gd name="connsiteX0" fmla="*/ 405974 w 1667963"/>
                  <a:gd name="connsiteY0" fmla="*/ 3040 h 1908614"/>
                  <a:gd name="connsiteX1" fmla="*/ 1342113 w 1667963"/>
                  <a:gd name="connsiteY1" fmla="*/ 673884 h 1908614"/>
                  <a:gd name="connsiteX2" fmla="*/ 1619626 w 1667963"/>
                  <a:gd name="connsiteY2" fmla="*/ 987357 h 1908614"/>
                  <a:gd name="connsiteX3" fmla="*/ 1325128 w 1667963"/>
                  <a:gd name="connsiteY3" fmla="*/ 1266468 h 1908614"/>
                  <a:gd name="connsiteX4" fmla="*/ 384531 w 1667963"/>
                  <a:gd name="connsiteY4" fmla="*/ 1905356 h 1908614"/>
                  <a:gd name="connsiteX5" fmla="*/ 0 w 1667963"/>
                  <a:gd name="connsiteY5" fmla="*/ 967511 h 1908614"/>
                  <a:gd name="connsiteX6" fmla="*/ 405974 w 1667963"/>
                  <a:gd name="connsiteY6" fmla="*/ 3040 h 1908614"/>
                  <a:gd name="connsiteX0" fmla="*/ 405974 w 1667963"/>
                  <a:gd name="connsiteY0" fmla="*/ 3040 h 1908614"/>
                  <a:gd name="connsiteX1" fmla="*/ 1342113 w 1667963"/>
                  <a:gd name="connsiteY1" fmla="*/ 673884 h 1908614"/>
                  <a:gd name="connsiteX2" fmla="*/ 1619626 w 1667963"/>
                  <a:gd name="connsiteY2" fmla="*/ 987357 h 1908614"/>
                  <a:gd name="connsiteX3" fmla="*/ 1325128 w 1667963"/>
                  <a:gd name="connsiteY3" fmla="*/ 1266468 h 1908614"/>
                  <a:gd name="connsiteX4" fmla="*/ 384531 w 1667963"/>
                  <a:gd name="connsiteY4" fmla="*/ 1905356 h 1908614"/>
                  <a:gd name="connsiteX5" fmla="*/ 0 w 1667963"/>
                  <a:gd name="connsiteY5" fmla="*/ 967511 h 1908614"/>
                  <a:gd name="connsiteX6" fmla="*/ 405974 w 1667963"/>
                  <a:gd name="connsiteY6" fmla="*/ 3040 h 1908614"/>
                  <a:gd name="connsiteX0" fmla="*/ 405974 w 1653544"/>
                  <a:gd name="connsiteY0" fmla="*/ 3040 h 1908614"/>
                  <a:gd name="connsiteX1" fmla="*/ 1342113 w 1653544"/>
                  <a:gd name="connsiteY1" fmla="*/ 673884 h 1908614"/>
                  <a:gd name="connsiteX2" fmla="*/ 1619626 w 1653544"/>
                  <a:gd name="connsiteY2" fmla="*/ 987357 h 1908614"/>
                  <a:gd name="connsiteX3" fmla="*/ 1325128 w 1653544"/>
                  <a:gd name="connsiteY3" fmla="*/ 1266468 h 1908614"/>
                  <a:gd name="connsiteX4" fmla="*/ 384531 w 1653544"/>
                  <a:gd name="connsiteY4" fmla="*/ 1905356 h 1908614"/>
                  <a:gd name="connsiteX5" fmla="*/ 0 w 1653544"/>
                  <a:gd name="connsiteY5" fmla="*/ 967511 h 1908614"/>
                  <a:gd name="connsiteX6" fmla="*/ 405974 w 1653544"/>
                  <a:gd name="connsiteY6" fmla="*/ 3040 h 1908614"/>
                  <a:gd name="connsiteX0" fmla="*/ 405974 w 1451143"/>
                  <a:gd name="connsiteY0" fmla="*/ 3040 h 1908614"/>
                  <a:gd name="connsiteX1" fmla="*/ 1342113 w 1451143"/>
                  <a:gd name="connsiteY1" fmla="*/ 673884 h 1908614"/>
                  <a:gd name="connsiteX2" fmla="*/ 1325128 w 1451143"/>
                  <a:gd name="connsiteY2" fmla="*/ 1266468 h 1908614"/>
                  <a:gd name="connsiteX3" fmla="*/ 384531 w 1451143"/>
                  <a:gd name="connsiteY3" fmla="*/ 1905356 h 1908614"/>
                  <a:gd name="connsiteX4" fmla="*/ 0 w 1451143"/>
                  <a:gd name="connsiteY4" fmla="*/ 967511 h 1908614"/>
                  <a:gd name="connsiteX5" fmla="*/ 405974 w 1451143"/>
                  <a:gd name="connsiteY5" fmla="*/ 3040 h 1908614"/>
                  <a:gd name="connsiteX0" fmla="*/ 405974 w 1410783"/>
                  <a:gd name="connsiteY0" fmla="*/ 3040 h 1908614"/>
                  <a:gd name="connsiteX1" fmla="*/ 1342113 w 1410783"/>
                  <a:gd name="connsiteY1" fmla="*/ 673884 h 1908614"/>
                  <a:gd name="connsiteX2" fmla="*/ 1325128 w 1410783"/>
                  <a:gd name="connsiteY2" fmla="*/ 1266468 h 1908614"/>
                  <a:gd name="connsiteX3" fmla="*/ 384531 w 1410783"/>
                  <a:gd name="connsiteY3" fmla="*/ 1905356 h 1908614"/>
                  <a:gd name="connsiteX4" fmla="*/ 0 w 1410783"/>
                  <a:gd name="connsiteY4" fmla="*/ 967511 h 1908614"/>
                  <a:gd name="connsiteX5" fmla="*/ 405974 w 1410783"/>
                  <a:gd name="connsiteY5" fmla="*/ 3040 h 1908614"/>
                  <a:gd name="connsiteX0" fmla="*/ 405974 w 1342113"/>
                  <a:gd name="connsiteY0" fmla="*/ 3040 h 1908614"/>
                  <a:gd name="connsiteX1" fmla="*/ 1342113 w 1342113"/>
                  <a:gd name="connsiteY1" fmla="*/ 673884 h 1908614"/>
                  <a:gd name="connsiteX2" fmla="*/ 1325128 w 1342113"/>
                  <a:gd name="connsiteY2" fmla="*/ 1266468 h 1908614"/>
                  <a:gd name="connsiteX3" fmla="*/ 384531 w 1342113"/>
                  <a:gd name="connsiteY3" fmla="*/ 1905356 h 1908614"/>
                  <a:gd name="connsiteX4" fmla="*/ 0 w 1342113"/>
                  <a:gd name="connsiteY4" fmla="*/ 967511 h 1908614"/>
                  <a:gd name="connsiteX5" fmla="*/ 405974 w 1342113"/>
                  <a:gd name="connsiteY5" fmla="*/ 3040 h 1908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42113" h="1908614">
                    <a:moveTo>
                      <a:pt x="405974" y="3040"/>
                    </a:moveTo>
                    <a:cubicBezTo>
                      <a:pt x="629660" y="-45898"/>
                      <a:pt x="1139838" y="509831"/>
                      <a:pt x="1342113" y="673884"/>
                    </a:cubicBezTo>
                    <a:cubicBezTo>
                      <a:pt x="1336942" y="1191205"/>
                      <a:pt x="1347576" y="710332"/>
                      <a:pt x="1325128" y="1266468"/>
                    </a:cubicBezTo>
                    <a:cubicBezTo>
                      <a:pt x="1119279" y="1419468"/>
                      <a:pt x="605386" y="1955182"/>
                      <a:pt x="384531" y="1905356"/>
                    </a:cubicBezTo>
                    <a:cubicBezTo>
                      <a:pt x="146596" y="1664260"/>
                      <a:pt x="0" y="1333005"/>
                      <a:pt x="0" y="967511"/>
                    </a:cubicBezTo>
                    <a:cubicBezTo>
                      <a:pt x="3574" y="650458"/>
                      <a:pt x="175017" y="138956"/>
                      <a:pt x="405974" y="3040"/>
                    </a:cubicBezTo>
                    <a:close/>
                  </a:path>
                </a:pathLst>
              </a:custGeom>
              <a:gradFill flip="none" rotWithShape="1">
                <a:gsLst>
                  <a:gs pos="18000">
                    <a:srgbClr val="004764"/>
                  </a:gs>
                  <a:gs pos="68000">
                    <a:srgbClr val="00B0F0">
                      <a:shade val="67500"/>
                      <a:satMod val="115000"/>
                    </a:srgbClr>
                  </a:gs>
                  <a:gs pos="100000">
                    <a:srgbClr val="00B0F0">
                      <a:shade val="100000"/>
                      <a:satMod val="115000"/>
                    </a:srgbClr>
                  </a:gs>
                </a:gsLst>
                <a:lin ang="3600000" scaled="0"/>
                <a:tileRect/>
              </a:gra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65" name="椭圆 35"/>
              <p:cNvSpPr/>
              <p:nvPr/>
            </p:nvSpPr>
            <p:spPr>
              <a:xfrm>
                <a:off x="1399379" y="1527333"/>
                <a:ext cx="472517" cy="1689178"/>
              </a:xfrm>
              <a:custGeom>
                <a:avLst/>
                <a:gdLst>
                  <a:gd name="connsiteX0" fmla="*/ 0 w 448407"/>
                  <a:gd name="connsiteY0" fmla="*/ 1305467 h 2610934"/>
                  <a:gd name="connsiteX1" fmla="*/ 224204 w 448407"/>
                  <a:gd name="connsiteY1" fmla="*/ 0 h 2610934"/>
                  <a:gd name="connsiteX2" fmla="*/ 448408 w 448407"/>
                  <a:gd name="connsiteY2" fmla="*/ 1305467 h 2610934"/>
                  <a:gd name="connsiteX3" fmla="*/ 224204 w 448407"/>
                  <a:gd name="connsiteY3" fmla="*/ 2610934 h 2610934"/>
                  <a:gd name="connsiteX4" fmla="*/ 0 w 448407"/>
                  <a:gd name="connsiteY4" fmla="*/ 1305467 h 2610934"/>
                  <a:gd name="connsiteX0" fmla="*/ 0 w 474713"/>
                  <a:gd name="connsiteY0" fmla="*/ 1305600 h 2611067"/>
                  <a:gd name="connsiteX1" fmla="*/ 224204 w 474713"/>
                  <a:gd name="connsiteY1" fmla="*/ 133 h 2611067"/>
                  <a:gd name="connsiteX2" fmla="*/ 445276 w 474713"/>
                  <a:gd name="connsiteY2" fmla="*/ 1224447 h 2611067"/>
                  <a:gd name="connsiteX3" fmla="*/ 448408 w 474713"/>
                  <a:gd name="connsiteY3" fmla="*/ 1305600 h 2611067"/>
                  <a:gd name="connsiteX4" fmla="*/ 224204 w 474713"/>
                  <a:gd name="connsiteY4" fmla="*/ 2611067 h 2611067"/>
                  <a:gd name="connsiteX5" fmla="*/ 0 w 474713"/>
                  <a:gd name="connsiteY5" fmla="*/ 1305600 h 2611067"/>
                  <a:gd name="connsiteX0" fmla="*/ 0 w 474713"/>
                  <a:gd name="connsiteY0" fmla="*/ 1305942 h 2611409"/>
                  <a:gd name="connsiteX1" fmla="*/ 224204 w 474713"/>
                  <a:gd name="connsiteY1" fmla="*/ 475 h 2611409"/>
                  <a:gd name="connsiteX2" fmla="*/ 445276 w 474713"/>
                  <a:gd name="connsiteY2" fmla="*/ 1224789 h 2611409"/>
                  <a:gd name="connsiteX3" fmla="*/ 448408 w 474713"/>
                  <a:gd name="connsiteY3" fmla="*/ 1305942 h 2611409"/>
                  <a:gd name="connsiteX4" fmla="*/ 224204 w 474713"/>
                  <a:gd name="connsiteY4" fmla="*/ 2611409 h 2611409"/>
                  <a:gd name="connsiteX5" fmla="*/ 0 w 474713"/>
                  <a:gd name="connsiteY5" fmla="*/ 1305942 h 2611409"/>
                  <a:gd name="connsiteX0" fmla="*/ 24401 w 499114"/>
                  <a:gd name="connsiteY0" fmla="*/ 1305942 h 2615064"/>
                  <a:gd name="connsiteX1" fmla="*/ 248605 w 499114"/>
                  <a:gd name="connsiteY1" fmla="*/ 475 h 2615064"/>
                  <a:gd name="connsiteX2" fmla="*/ 469677 w 499114"/>
                  <a:gd name="connsiteY2" fmla="*/ 1224789 h 2615064"/>
                  <a:gd name="connsiteX3" fmla="*/ 472809 w 499114"/>
                  <a:gd name="connsiteY3" fmla="*/ 1305942 h 2615064"/>
                  <a:gd name="connsiteX4" fmla="*/ 248605 w 499114"/>
                  <a:gd name="connsiteY4" fmla="*/ 2611409 h 2615064"/>
                  <a:gd name="connsiteX5" fmla="*/ 31193 w 499114"/>
                  <a:gd name="connsiteY5" fmla="*/ 1684664 h 2615064"/>
                  <a:gd name="connsiteX6" fmla="*/ 24401 w 499114"/>
                  <a:gd name="connsiteY6" fmla="*/ 1305942 h 2615064"/>
                  <a:gd name="connsiteX0" fmla="*/ 8009 w 482722"/>
                  <a:gd name="connsiteY0" fmla="*/ 1305942 h 2615064"/>
                  <a:gd name="connsiteX1" fmla="*/ 232213 w 482722"/>
                  <a:gd name="connsiteY1" fmla="*/ 475 h 2615064"/>
                  <a:gd name="connsiteX2" fmla="*/ 453285 w 482722"/>
                  <a:gd name="connsiteY2" fmla="*/ 1224789 h 2615064"/>
                  <a:gd name="connsiteX3" fmla="*/ 456417 w 482722"/>
                  <a:gd name="connsiteY3" fmla="*/ 1305942 h 2615064"/>
                  <a:gd name="connsiteX4" fmla="*/ 232213 w 482722"/>
                  <a:gd name="connsiteY4" fmla="*/ 2611409 h 2615064"/>
                  <a:gd name="connsiteX5" fmla="*/ 14801 w 482722"/>
                  <a:gd name="connsiteY5" fmla="*/ 1684664 h 2615064"/>
                  <a:gd name="connsiteX6" fmla="*/ 8009 w 482722"/>
                  <a:gd name="connsiteY6" fmla="*/ 1305942 h 2615064"/>
                  <a:gd name="connsiteX0" fmla="*/ 0 w 467921"/>
                  <a:gd name="connsiteY0" fmla="*/ 1684664 h 2615064"/>
                  <a:gd name="connsiteX1" fmla="*/ 217412 w 467921"/>
                  <a:gd name="connsiteY1" fmla="*/ 475 h 2615064"/>
                  <a:gd name="connsiteX2" fmla="*/ 438484 w 467921"/>
                  <a:gd name="connsiteY2" fmla="*/ 1224789 h 2615064"/>
                  <a:gd name="connsiteX3" fmla="*/ 441616 w 467921"/>
                  <a:gd name="connsiteY3" fmla="*/ 1305942 h 2615064"/>
                  <a:gd name="connsiteX4" fmla="*/ 217412 w 467921"/>
                  <a:gd name="connsiteY4" fmla="*/ 2611409 h 2615064"/>
                  <a:gd name="connsiteX5" fmla="*/ 0 w 467921"/>
                  <a:gd name="connsiteY5" fmla="*/ 1684664 h 2615064"/>
                  <a:gd name="connsiteX0" fmla="*/ 18809 w 486730"/>
                  <a:gd name="connsiteY0" fmla="*/ 1684664 h 2646215"/>
                  <a:gd name="connsiteX1" fmla="*/ 236221 w 486730"/>
                  <a:gd name="connsiteY1" fmla="*/ 475 h 2646215"/>
                  <a:gd name="connsiteX2" fmla="*/ 457293 w 486730"/>
                  <a:gd name="connsiteY2" fmla="*/ 1224789 h 2646215"/>
                  <a:gd name="connsiteX3" fmla="*/ 460425 w 486730"/>
                  <a:gd name="connsiteY3" fmla="*/ 1305942 h 2646215"/>
                  <a:gd name="connsiteX4" fmla="*/ 236221 w 486730"/>
                  <a:gd name="connsiteY4" fmla="*/ 2611409 h 2646215"/>
                  <a:gd name="connsiteX5" fmla="*/ 18809 w 486730"/>
                  <a:gd name="connsiteY5" fmla="*/ 1684664 h 2646215"/>
                  <a:gd name="connsiteX0" fmla="*/ 18809 w 486730"/>
                  <a:gd name="connsiteY0" fmla="*/ 1684664 h 2613426"/>
                  <a:gd name="connsiteX1" fmla="*/ 236221 w 486730"/>
                  <a:gd name="connsiteY1" fmla="*/ 475 h 2613426"/>
                  <a:gd name="connsiteX2" fmla="*/ 457293 w 486730"/>
                  <a:gd name="connsiteY2" fmla="*/ 1224789 h 2613426"/>
                  <a:gd name="connsiteX3" fmla="*/ 460425 w 486730"/>
                  <a:gd name="connsiteY3" fmla="*/ 1305942 h 2613426"/>
                  <a:gd name="connsiteX4" fmla="*/ 236221 w 486730"/>
                  <a:gd name="connsiteY4" fmla="*/ 2611409 h 2613426"/>
                  <a:gd name="connsiteX5" fmla="*/ 18809 w 486730"/>
                  <a:gd name="connsiteY5" fmla="*/ 1684664 h 2613426"/>
                  <a:gd name="connsiteX0" fmla="*/ 18809 w 486730"/>
                  <a:gd name="connsiteY0" fmla="*/ 1684664 h 1737510"/>
                  <a:gd name="connsiteX1" fmla="*/ 236221 w 486730"/>
                  <a:gd name="connsiteY1" fmla="*/ 475 h 1737510"/>
                  <a:gd name="connsiteX2" fmla="*/ 457293 w 486730"/>
                  <a:gd name="connsiteY2" fmla="*/ 1224789 h 1737510"/>
                  <a:gd name="connsiteX3" fmla="*/ 460425 w 486730"/>
                  <a:gd name="connsiteY3" fmla="*/ 1305942 h 1737510"/>
                  <a:gd name="connsiteX4" fmla="*/ 18809 w 486730"/>
                  <a:gd name="connsiteY4" fmla="*/ 1684664 h 1737510"/>
                  <a:gd name="connsiteX0" fmla="*/ 18809 w 486730"/>
                  <a:gd name="connsiteY0" fmla="*/ 1684664 h 1684664"/>
                  <a:gd name="connsiteX1" fmla="*/ 236221 w 486730"/>
                  <a:gd name="connsiteY1" fmla="*/ 475 h 1684664"/>
                  <a:gd name="connsiteX2" fmla="*/ 457293 w 486730"/>
                  <a:gd name="connsiteY2" fmla="*/ 1224789 h 1684664"/>
                  <a:gd name="connsiteX3" fmla="*/ 460425 w 486730"/>
                  <a:gd name="connsiteY3" fmla="*/ 1305942 h 1684664"/>
                  <a:gd name="connsiteX4" fmla="*/ 18809 w 486730"/>
                  <a:gd name="connsiteY4" fmla="*/ 1684664 h 1684664"/>
                  <a:gd name="connsiteX0" fmla="*/ 18809 w 457293"/>
                  <a:gd name="connsiteY0" fmla="*/ 1684664 h 1742157"/>
                  <a:gd name="connsiteX1" fmla="*/ 236221 w 457293"/>
                  <a:gd name="connsiteY1" fmla="*/ 475 h 1742157"/>
                  <a:gd name="connsiteX2" fmla="*/ 457293 w 457293"/>
                  <a:gd name="connsiteY2" fmla="*/ 1224789 h 1742157"/>
                  <a:gd name="connsiteX3" fmla="*/ 18809 w 457293"/>
                  <a:gd name="connsiteY3" fmla="*/ 1684664 h 1742157"/>
                  <a:gd name="connsiteX0" fmla="*/ 18809 w 457293"/>
                  <a:gd name="connsiteY0" fmla="*/ 1684664 h 1684664"/>
                  <a:gd name="connsiteX1" fmla="*/ 236221 w 457293"/>
                  <a:gd name="connsiteY1" fmla="*/ 475 h 1684664"/>
                  <a:gd name="connsiteX2" fmla="*/ 457293 w 457293"/>
                  <a:gd name="connsiteY2" fmla="*/ 1224789 h 1684664"/>
                  <a:gd name="connsiteX3" fmla="*/ 18809 w 457293"/>
                  <a:gd name="connsiteY3" fmla="*/ 1684664 h 1684664"/>
                  <a:gd name="connsiteX0" fmla="*/ 18809 w 457293"/>
                  <a:gd name="connsiteY0" fmla="*/ 1684664 h 1684664"/>
                  <a:gd name="connsiteX1" fmla="*/ 236221 w 457293"/>
                  <a:gd name="connsiteY1" fmla="*/ 475 h 1684664"/>
                  <a:gd name="connsiteX2" fmla="*/ 457293 w 457293"/>
                  <a:gd name="connsiteY2" fmla="*/ 1224789 h 1684664"/>
                  <a:gd name="connsiteX3" fmla="*/ 18809 w 457293"/>
                  <a:gd name="connsiteY3" fmla="*/ 1684664 h 1684664"/>
                  <a:gd name="connsiteX0" fmla="*/ 17991 w 472517"/>
                  <a:gd name="connsiteY0" fmla="*/ 1689178 h 1689178"/>
                  <a:gd name="connsiteX1" fmla="*/ 251445 w 472517"/>
                  <a:gd name="connsiteY1" fmla="*/ 10337 h 1689178"/>
                  <a:gd name="connsiteX2" fmla="*/ 472517 w 472517"/>
                  <a:gd name="connsiteY2" fmla="*/ 1234651 h 1689178"/>
                  <a:gd name="connsiteX3" fmla="*/ 17991 w 472517"/>
                  <a:gd name="connsiteY3" fmla="*/ 1689178 h 1689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2517" h="1689178">
                    <a:moveTo>
                      <a:pt x="17991" y="1689178"/>
                    </a:moveTo>
                    <a:cubicBezTo>
                      <a:pt x="-67566" y="601643"/>
                      <a:pt x="175691" y="86092"/>
                      <a:pt x="251445" y="10337"/>
                    </a:cubicBezTo>
                    <a:cubicBezTo>
                      <a:pt x="327199" y="-65418"/>
                      <a:pt x="456540" y="268442"/>
                      <a:pt x="472517" y="1234651"/>
                    </a:cubicBezTo>
                    <a:cubicBezTo>
                      <a:pt x="72661" y="1638339"/>
                      <a:pt x="434499" y="1235504"/>
                      <a:pt x="17991" y="1689178"/>
                    </a:cubicBezTo>
                    <a:close/>
                  </a:path>
                </a:pathLst>
              </a:custGeom>
              <a:gradFill flip="none" rotWithShape="1">
                <a:gsLst>
                  <a:gs pos="18000">
                    <a:srgbClr val="004764"/>
                  </a:gs>
                  <a:gs pos="68000">
                    <a:srgbClr val="00B0F0">
                      <a:shade val="67500"/>
                      <a:satMod val="115000"/>
                    </a:srgbClr>
                  </a:gs>
                  <a:gs pos="100000">
                    <a:srgbClr val="00B0F0">
                      <a:shade val="100000"/>
                      <a:satMod val="115000"/>
                    </a:srgbClr>
                  </a:gs>
                </a:gsLst>
                <a:lin ang="4800000" scaled="0"/>
                <a:tileRect/>
              </a:gradFill>
              <a:ln w="317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79" name="TextBox 78"/>
            <p:cNvSpPr txBox="1"/>
            <p:nvPr/>
          </p:nvSpPr>
          <p:spPr>
            <a:xfrm>
              <a:off x="3311077" y="2668310"/>
              <a:ext cx="80177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i="0" dirty="0">
                  <a:ln w="12700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个人信息</a:t>
              </a:r>
            </a:p>
          </p:txBody>
        </p:sp>
      </p:grpSp>
      <p:grpSp>
        <p:nvGrpSpPr>
          <p:cNvPr id="67" name="组合 66"/>
          <p:cNvGrpSpPr/>
          <p:nvPr/>
        </p:nvGrpSpPr>
        <p:grpSpPr>
          <a:xfrm>
            <a:off x="946900" y="2075783"/>
            <a:ext cx="2161093" cy="943438"/>
            <a:chOff x="1553888" y="3400856"/>
            <a:chExt cx="2057395" cy="898168"/>
          </a:xfrm>
        </p:grpSpPr>
        <p:cxnSp>
          <p:nvCxnSpPr>
            <p:cNvPr id="68" name="直接连接符 67"/>
            <p:cNvCxnSpPr/>
            <p:nvPr/>
          </p:nvCxnSpPr>
          <p:spPr>
            <a:xfrm>
              <a:off x="1611168" y="4299024"/>
              <a:ext cx="2000115" cy="0"/>
            </a:xfrm>
            <a:prstGeom prst="line">
              <a:avLst/>
            </a:prstGeom>
            <a:ln>
              <a:solidFill>
                <a:schemeClr val="tx1">
                  <a:lumMod val="85000"/>
                  <a:lumOff val="15000"/>
                </a:schemeClr>
              </a:solidFill>
              <a:prstDash val="sysDash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TextBox 11"/>
            <p:cNvSpPr txBox="1">
              <a:spLocks noChangeArrowheads="1"/>
            </p:cNvSpPr>
            <p:nvPr/>
          </p:nvSpPr>
          <p:spPr bwMode="auto">
            <a:xfrm flipH="1">
              <a:off x="1553888" y="3400856"/>
              <a:ext cx="1891464" cy="87902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i="0" kern="0" dirty="0" smtClean="0">
                  <a:latin typeface="微软雅黑" pitchFamily="34" charset="-122"/>
                  <a:ea typeface="微软雅黑" pitchFamily="34" charset="-122"/>
                </a:rPr>
                <a:t>填写提交者个人信息，如姓名、学校、年级等</a:t>
              </a:r>
              <a:endParaRPr lang="en-US" altLang="zh-CN" i="0" kern="0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96" name="组合 95"/>
          <p:cNvGrpSpPr/>
          <p:nvPr/>
        </p:nvGrpSpPr>
        <p:grpSpPr>
          <a:xfrm>
            <a:off x="3989840" y="1941384"/>
            <a:ext cx="2207652" cy="1859574"/>
            <a:chOff x="3961265" y="1979484"/>
            <a:chExt cx="2207652" cy="1859574"/>
          </a:xfrm>
        </p:grpSpPr>
        <p:sp>
          <p:nvSpPr>
            <p:cNvPr id="66" name="椭圆 6"/>
            <p:cNvSpPr/>
            <p:nvPr/>
          </p:nvSpPr>
          <p:spPr>
            <a:xfrm rot="2640975">
              <a:off x="3961265" y="1979484"/>
              <a:ext cx="2207652" cy="1859574"/>
            </a:xfrm>
            <a:custGeom>
              <a:avLst/>
              <a:gdLst>
                <a:gd name="connsiteX0" fmla="*/ 1337568 w 2295129"/>
                <a:gd name="connsiteY0" fmla="*/ 1205 h 2276618"/>
                <a:gd name="connsiteX1" fmla="*/ 2295129 w 2295129"/>
                <a:gd name="connsiteY1" fmla="*/ 405906 h 2276618"/>
                <a:gd name="connsiteX2" fmla="*/ 384531 w 2295129"/>
                <a:gd name="connsiteY2" fmla="*/ 2276618 h 2276618"/>
                <a:gd name="connsiteX3" fmla="*/ 0 w 2295129"/>
                <a:gd name="connsiteY3" fmla="*/ 1338773 h 2276618"/>
                <a:gd name="connsiteX4" fmla="*/ 466046 w 2295129"/>
                <a:gd name="connsiteY4" fmla="*/ 320895 h 2276618"/>
                <a:gd name="connsiteX5" fmla="*/ 1337568 w 2295129"/>
                <a:gd name="connsiteY5" fmla="*/ 1205 h 2276618"/>
                <a:gd name="connsiteX0" fmla="*/ 1337568 w 2295137"/>
                <a:gd name="connsiteY0" fmla="*/ 1205 h 2278372"/>
                <a:gd name="connsiteX1" fmla="*/ 2295129 w 2295137"/>
                <a:gd name="connsiteY1" fmla="*/ 405906 h 2278372"/>
                <a:gd name="connsiteX2" fmla="*/ 1353456 w 2295137"/>
                <a:gd name="connsiteY2" fmla="*/ 1540694 h 2278372"/>
                <a:gd name="connsiteX3" fmla="*/ 384531 w 2295137"/>
                <a:gd name="connsiteY3" fmla="*/ 2276618 h 2278372"/>
                <a:gd name="connsiteX4" fmla="*/ 0 w 2295137"/>
                <a:gd name="connsiteY4" fmla="*/ 1338773 h 2278372"/>
                <a:gd name="connsiteX5" fmla="*/ 466046 w 2295137"/>
                <a:gd name="connsiteY5" fmla="*/ 320895 h 2278372"/>
                <a:gd name="connsiteX6" fmla="*/ 1337568 w 2295137"/>
                <a:gd name="connsiteY6" fmla="*/ 1205 h 2278372"/>
                <a:gd name="connsiteX0" fmla="*/ 1370140 w 2327710"/>
                <a:gd name="connsiteY0" fmla="*/ 1205 h 1604219"/>
                <a:gd name="connsiteX1" fmla="*/ 2327701 w 2327710"/>
                <a:gd name="connsiteY1" fmla="*/ 405906 h 1604219"/>
                <a:gd name="connsiteX2" fmla="*/ 1386028 w 2327710"/>
                <a:gd name="connsiteY2" fmla="*/ 1540694 h 1604219"/>
                <a:gd name="connsiteX3" fmla="*/ 32572 w 2327710"/>
                <a:gd name="connsiteY3" fmla="*/ 1338773 h 1604219"/>
                <a:gd name="connsiteX4" fmla="*/ 498618 w 2327710"/>
                <a:gd name="connsiteY4" fmla="*/ 320895 h 1604219"/>
                <a:gd name="connsiteX5" fmla="*/ 1370140 w 2327710"/>
                <a:gd name="connsiteY5" fmla="*/ 1205 h 1604219"/>
                <a:gd name="connsiteX0" fmla="*/ 871522 w 1829091"/>
                <a:gd name="connsiteY0" fmla="*/ 1205 h 1540860"/>
                <a:gd name="connsiteX1" fmla="*/ 1829083 w 1829091"/>
                <a:gd name="connsiteY1" fmla="*/ 405906 h 1540860"/>
                <a:gd name="connsiteX2" fmla="*/ 887410 w 1829091"/>
                <a:gd name="connsiteY2" fmla="*/ 1540694 h 1540860"/>
                <a:gd name="connsiteX3" fmla="*/ 0 w 1829091"/>
                <a:gd name="connsiteY3" fmla="*/ 320895 h 1540860"/>
                <a:gd name="connsiteX4" fmla="*/ 871522 w 1829091"/>
                <a:gd name="connsiteY4" fmla="*/ 1205 h 1540860"/>
                <a:gd name="connsiteX0" fmla="*/ 871522 w 1829091"/>
                <a:gd name="connsiteY0" fmla="*/ 1205 h 1540860"/>
                <a:gd name="connsiteX1" fmla="*/ 1829083 w 1829091"/>
                <a:gd name="connsiteY1" fmla="*/ 405906 h 1540860"/>
                <a:gd name="connsiteX2" fmla="*/ 887410 w 1829091"/>
                <a:gd name="connsiteY2" fmla="*/ 1540694 h 1540860"/>
                <a:gd name="connsiteX3" fmla="*/ 0 w 1829091"/>
                <a:gd name="connsiteY3" fmla="*/ 320895 h 1540860"/>
                <a:gd name="connsiteX4" fmla="*/ 871522 w 1829091"/>
                <a:gd name="connsiteY4" fmla="*/ 1205 h 1540860"/>
                <a:gd name="connsiteX0" fmla="*/ 871522 w 1829092"/>
                <a:gd name="connsiteY0" fmla="*/ 1205 h 1540694"/>
                <a:gd name="connsiteX1" fmla="*/ 1829083 w 1829092"/>
                <a:gd name="connsiteY1" fmla="*/ 405906 h 1540694"/>
                <a:gd name="connsiteX2" fmla="*/ 887410 w 1829092"/>
                <a:gd name="connsiteY2" fmla="*/ 1540694 h 1540694"/>
                <a:gd name="connsiteX3" fmla="*/ 0 w 1829092"/>
                <a:gd name="connsiteY3" fmla="*/ 320895 h 1540694"/>
                <a:gd name="connsiteX4" fmla="*/ 871522 w 1829092"/>
                <a:gd name="connsiteY4" fmla="*/ 1205 h 1540694"/>
                <a:gd name="connsiteX0" fmla="*/ 871522 w 1829083"/>
                <a:gd name="connsiteY0" fmla="*/ 1205 h 1540694"/>
                <a:gd name="connsiteX1" fmla="*/ 1829083 w 1829083"/>
                <a:gd name="connsiteY1" fmla="*/ 405906 h 1540694"/>
                <a:gd name="connsiteX2" fmla="*/ 887410 w 1829083"/>
                <a:gd name="connsiteY2" fmla="*/ 1540694 h 1540694"/>
                <a:gd name="connsiteX3" fmla="*/ 0 w 1829083"/>
                <a:gd name="connsiteY3" fmla="*/ 320895 h 1540694"/>
                <a:gd name="connsiteX4" fmla="*/ 871522 w 1829083"/>
                <a:gd name="connsiteY4" fmla="*/ 1205 h 1540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9083" h="1540694">
                  <a:moveTo>
                    <a:pt x="871522" y="1205"/>
                  </a:moveTo>
                  <a:cubicBezTo>
                    <a:pt x="1247165" y="1205"/>
                    <a:pt x="1586641" y="156055"/>
                    <a:pt x="1829083" y="405906"/>
                  </a:cubicBezTo>
                  <a:cubicBezTo>
                    <a:pt x="1761678" y="717233"/>
                    <a:pt x="1267396" y="1203999"/>
                    <a:pt x="887410" y="1540694"/>
                  </a:cubicBezTo>
                  <a:cubicBezTo>
                    <a:pt x="425397" y="1095978"/>
                    <a:pt x="2648" y="577476"/>
                    <a:pt x="0" y="320895"/>
                  </a:cubicBezTo>
                  <a:cubicBezTo>
                    <a:pt x="222928" y="97967"/>
                    <a:pt x="566675" y="-12963"/>
                    <a:pt x="871522" y="1205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BE1247"/>
                </a:gs>
                <a:gs pos="25000">
                  <a:srgbClr val="D2144F"/>
                </a:gs>
                <a:gs pos="42000">
                  <a:srgbClr val="BE1247"/>
                </a:gs>
                <a:gs pos="100000">
                  <a:srgbClr val="FA9496"/>
                </a:gs>
              </a:gsLst>
              <a:lin ang="14400000" scaled="0"/>
              <a:tileRect/>
            </a:gra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zh-CN" altLang="en-US"/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4492128" y="2660347"/>
              <a:ext cx="80177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i="0" dirty="0">
                  <a:ln w="12700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早餐调查</a:t>
              </a:r>
            </a:p>
          </p:txBody>
        </p:sp>
      </p:grpSp>
      <p:grpSp>
        <p:nvGrpSpPr>
          <p:cNvPr id="87" name="组合 86"/>
          <p:cNvGrpSpPr/>
          <p:nvPr/>
        </p:nvGrpSpPr>
        <p:grpSpPr>
          <a:xfrm>
            <a:off x="5691332" y="2263771"/>
            <a:ext cx="2524124" cy="943438"/>
            <a:chOff x="1042346" y="3400856"/>
            <a:chExt cx="2403006" cy="898168"/>
          </a:xfrm>
        </p:grpSpPr>
        <p:cxnSp>
          <p:nvCxnSpPr>
            <p:cNvPr id="88" name="直接连接符 87"/>
            <p:cNvCxnSpPr/>
            <p:nvPr/>
          </p:nvCxnSpPr>
          <p:spPr>
            <a:xfrm flipH="1">
              <a:off x="1042346" y="4299024"/>
              <a:ext cx="2403006" cy="0"/>
            </a:xfrm>
            <a:prstGeom prst="line">
              <a:avLst/>
            </a:prstGeom>
            <a:ln>
              <a:solidFill>
                <a:schemeClr val="tx1">
                  <a:lumMod val="85000"/>
                  <a:lumOff val="15000"/>
                </a:schemeClr>
              </a:solidFill>
              <a:prstDash val="sysDash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TextBox 11"/>
            <p:cNvSpPr txBox="1">
              <a:spLocks noChangeArrowheads="1"/>
            </p:cNvSpPr>
            <p:nvPr/>
          </p:nvSpPr>
          <p:spPr bwMode="auto">
            <a:xfrm flipH="1">
              <a:off x="1581751" y="3400856"/>
              <a:ext cx="1763853" cy="87902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宋体" charset="-122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i="0" kern="0" dirty="0">
                  <a:latin typeface="微软雅黑" pitchFamily="34" charset="-122"/>
                  <a:ea typeface="微软雅黑" pitchFamily="34" charset="-122"/>
                </a:rPr>
                <a:t>填写暑假期间连续</a:t>
              </a:r>
              <a:r>
                <a:rPr lang="en-US" altLang="zh-CN" i="0" kern="0" dirty="0">
                  <a:latin typeface="微软雅黑" pitchFamily="34" charset="-122"/>
                  <a:ea typeface="微软雅黑" pitchFamily="34" charset="-122"/>
                </a:rPr>
                <a:t>7</a:t>
              </a:r>
              <a:r>
                <a:rPr lang="zh-CN" altLang="en-US" i="0" kern="0" dirty="0">
                  <a:latin typeface="微软雅黑" pitchFamily="34" charset="-122"/>
                  <a:ea typeface="微软雅黑" pitchFamily="34" charset="-122"/>
                </a:rPr>
                <a:t>天的早餐情况。</a:t>
              </a:r>
              <a:endParaRPr lang="en-US" altLang="zh-CN" i="0" kern="0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00" name="组合 99"/>
          <p:cNvGrpSpPr/>
          <p:nvPr/>
        </p:nvGrpSpPr>
        <p:grpSpPr>
          <a:xfrm>
            <a:off x="7802836" y="3803479"/>
            <a:ext cx="903443" cy="903424"/>
            <a:chOff x="8296741" y="2465647"/>
            <a:chExt cx="903443" cy="903424"/>
          </a:xfrm>
        </p:grpSpPr>
        <p:sp>
          <p:nvSpPr>
            <p:cNvPr id="101" name="十二角星 100"/>
            <p:cNvSpPr/>
            <p:nvPr/>
          </p:nvSpPr>
          <p:spPr bwMode="auto">
            <a:xfrm>
              <a:off x="8296741" y="2465647"/>
              <a:ext cx="903443" cy="903424"/>
            </a:xfrm>
            <a:prstGeom prst="star12">
              <a:avLst>
                <a:gd name="adj" fmla="val 32052"/>
              </a:avLst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2000" i="0" dirty="0">
                <a:ln w="3175" cmpd="sng">
                  <a:solidFill>
                    <a:schemeClr val="bg1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8388424" y="2762998"/>
              <a:ext cx="75557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i="0" dirty="0">
                  <a:ln w="6350" cmpd="sng">
                    <a:solidFill>
                      <a:srgbClr val="FFFFFF"/>
                    </a:solidFill>
                    <a:prstDash val="solid"/>
                  </a:ln>
                  <a:solidFill>
                    <a:schemeClr val="bg1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黑体" pitchFamily="49" charset="-122"/>
                  <a:ea typeface="黑体" pitchFamily="49" charset="-122"/>
                </a:rPr>
                <a:t>新增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21337951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1775213" y="4041670"/>
            <a:ext cx="5597138" cy="1153014"/>
          </a:xfrm>
          <a:prstGeom prst="roundRect">
            <a:avLst>
              <a:gd name="adj" fmla="val 10580"/>
            </a:avLst>
          </a:prstGeom>
          <a:solidFill>
            <a:schemeClr val="bg1">
              <a:alpha val="60000"/>
            </a:schemeClr>
          </a:solidFill>
          <a:ln w="38100">
            <a:gradFill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>
                    <a:lumMod val="75000"/>
                  </a:schemeClr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coolSlant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简要流程</a:t>
            </a:r>
            <a:endParaRPr lang="zh-CN" altLang="en-US" dirty="0"/>
          </a:p>
        </p:txBody>
      </p:sp>
      <p:sp>
        <p:nvSpPr>
          <p:cNvPr id="73" name="右箭头 72"/>
          <p:cNvSpPr/>
          <p:nvPr/>
        </p:nvSpPr>
        <p:spPr bwMode="auto">
          <a:xfrm>
            <a:off x="3666146" y="1484088"/>
            <a:ext cx="271723" cy="407584"/>
          </a:xfrm>
          <a:prstGeom prst="rightArrow">
            <a:avLst>
              <a:gd name="adj1" fmla="val 50000"/>
              <a:gd name="adj2" fmla="val 70932"/>
            </a:avLst>
          </a:prstGeom>
          <a:ln>
            <a:noFill/>
          </a:ln>
        </p:spPr>
        <p:style>
          <a:lnRef idx="1">
            <a:schemeClr val="dk1"/>
          </a:lnRef>
          <a:fillRef idx="1002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grpSp>
        <p:nvGrpSpPr>
          <p:cNvPr id="13" name="组合 15"/>
          <p:cNvGrpSpPr>
            <a:grpSpLocks/>
          </p:cNvGrpSpPr>
          <p:nvPr/>
        </p:nvGrpSpPr>
        <p:grpSpPr bwMode="auto">
          <a:xfrm>
            <a:off x="2514227" y="1178692"/>
            <a:ext cx="1037844" cy="1018374"/>
            <a:chOff x="1527568" y="1710856"/>
            <a:chExt cx="1100216" cy="1080120"/>
          </a:xfrm>
        </p:grpSpPr>
        <p:sp>
          <p:nvSpPr>
            <p:cNvPr id="14" name="圆角矩形 13"/>
            <p:cNvSpPr/>
            <p:nvPr/>
          </p:nvSpPr>
          <p:spPr>
            <a:xfrm>
              <a:off x="1527568" y="1710856"/>
              <a:ext cx="1080120" cy="1080120"/>
            </a:xfrm>
            <a:prstGeom prst="roundRect">
              <a:avLst/>
            </a:prstGeom>
            <a:ln>
              <a:noFill/>
            </a:ln>
          </p:spPr>
          <p:style>
            <a:lnRef idx="1">
              <a:schemeClr val="dk1"/>
            </a:lnRef>
            <a:fillRef idx="1002">
              <a:schemeClr val="lt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547664" y="1844824"/>
              <a:ext cx="1080120" cy="76988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zh-CN" altLang="en-US" sz="2200" b="1" i="0" dirty="0" smtClean="0">
                  <a:ln w="6350" cmpd="sng">
                    <a:noFill/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glow rad="101600">
                      <a:schemeClr val="bg1">
                        <a:alpha val="60000"/>
                      </a:schemeClr>
                    </a:glow>
                  </a:effectLst>
                  <a:latin typeface="+mn-ea"/>
                  <a:ea typeface="+mn-ea"/>
                </a:rPr>
                <a:t>登录</a:t>
              </a:r>
              <a:endParaRPr lang="en-US" altLang="zh-CN" sz="2200" b="1" i="0" dirty="0" smtClean="0">
                <a:ln w="6350" cmpd="sng">
                  <a:noFill/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+mn-ea"/>
                <a:ea typeface="+mn-ea"/>
              </a:endParaRPr>
            </a:p>
            <a:p>
              <a:pPr algn="ctr">
                <a:defRPr/>
              </a:pPr>
              <a:r>
                <a:rPr lang="zh-CN" altLang="en-US" sz="2200" b="1" i="0" dirty="0" smtClean="0">
                  <a:ln w="6350" cmpd="sng">
                    <a:noFill/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glow rad="101600">
                      <a:schemeClr val="bg1">
                        <a:alpha val="60000"/>
                      </a:schemeClr>
                    </a:glow>
                  </a:effectLst>
                  <a:latin typeface="+mn-ea"/>
                  <a:ea typeface="+mn-ea"/>
                </a:rPr>
                <a:t>网站</a:t>
              </a:r>
              <a:endParaRPr lang="zh-CN" altLang="en-US" sz="2200" b="1" i="0" dirty="0">
                <a:ln w="6350" cmpd="sng">
                  <a:noFill/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+mn-ea"/>
                <a:ea typeface="+mn-ea"/>
              </a:endParaRPr>
            </a:p>
          </p:txBody>
        </p:sp>
      </p:grpSp>
      <p:grpSp>
        <p:nvGrpSpPr>
          <p:cNvPr id="16" name="组合 15"/>
          <p:cNvGrpSpPr>
            <a:grpSpLocks/>
          </p:cNvGrpSpPr>
          <p:nvPr/>
        </p:nvGrpSpPr>
        <p:grpSpPr bwMode="auto">
          <a:xfrm>
            <a:off x="4070051" y="1178692"/>
            <a:ext cx="1037844" cy="1018374"/>
            <a:chOff x="1527568" y="1710856"/>
            <a:chExt cx="1100216" cy="1080120"/>
          </a:xfrm>
        </p:grpSpPr>
        <p:sp>
          <p:nvSpPr>
            <p:cNvPr id="17" name="圆角矩形 16"/>
            <p:cNvSpPr/>
            <p:nvPr/>
          </p:nvSpPr>
          <p:spPr>
            <a:xfrm>
              <a:off x="1527568" y="1710856"/>
              <a:ext cx="1080120" cy="1080120"/>
            </a:xfrm>
            <a:prstGeom prst="roundRect">
              <a:avLst/>
            </a:prstGeom>
            <a:ln>
              <a:noFill/>
            </a:ln>
          </p:spPr>
          <p:style>
            <a:lnRef idx="1">
              <a:schemeClr val="dk1"/>
            </a:lnRef>
            <a:fillRef idx="1002">
              <a:schemeClr val="lt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547664" y="1844824"/>
              <a:ext cx="1080120" cy="76988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zh-CN" altLang="en-US" sz="2200" b="1" i="0" dirty="0" smtClean="0">
                  <a:ln w="6350" cmpd="sng">
                    <a:noFill/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glow rad="101600">
                      <a:schemeClr val="bg1">
                        <a:alpha val="60000"/>
                      </a:schemeClr>
                    </a:glow>
                  </a:effectLst>
                  <a:latin typeface="+mn-ea"/>
                  <a:ea typeface="+mn-ea"/>
                </a:rPr>
                <a:t>注册</a:t>
              </a:r>
              <a:endParaRPr lang="en-US" altLang="zh-CN" sz="2200" b="1" i="0" dirty="0" smtClean="0">
                <a:ln w="6350" cmpd="sng">
                  <a:noFill/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+mn-ea"/>
                <a:ea typeface="+mn-ea"/>
              </a:endParaRPr>
            </a:p>
            <a:p>
              <a:pPr algn="ctr">
                <a:defRPr/>
              </a:pPr>
              <a:r>
                <a:rPr lang="zh-CN" altLang="en-US" sz="2200" b="1" i="0" dirty="0" smtClean="0">
                  <a:ln w="6350" cmpd="sng">
                    <a:noFill/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glow rad="101600">
                      <a:schemeClr val="bg1">
                        <a:alpha val="60000"/>
                      </a:schemeClr>
                    </a:glow>
                  </a:effectLst>
                  <a:latin typeface="+mn-ea"/>
                  <a:ea typeface="+mn-ea"/>
                </a:rPr>
                <a:t>用户</a:t>
              </a:r>
              <a:endParaRPr lang="zh-CN" altLang="en-US" sz="2200" b="1" i="0" dirty="0">
                <a:ln w="6350" cmpd="sng">
                  <a:noFill/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+mn-ea"/>
                <a:ea typeface="+mn-ea"/>
              </a:endParaRPr>
            </a:p>
          </p:txBody>
        </p:sp>
      </p:grpSp>
      <p:grpSp>
        <p:nvGrpSpPr>
          <p:cNvPr id="19" name="组合 15"/>
          <p:cNvGrpSpPr>
            <a:grpSpLocks/>
          </p:cNvGrpSpPr>
          <p:nvPr/>
        </p:nvGrpSpPr>
        <p:grpSpPr bwMode="auto">
          <a:xfrm>
            <a:off x="4070051" y="2643355"/>
            <a:ext cx="1037844" cy="1018374"/>
            <a:chOff x="1527568" y="1710856"/>
            <a:chExt cx="1100216" cy="1080120"/>
          </a:xfrm>
        </p:grpSpPr>
        <p:sp>
          <p:nvSpPr>
            <p:cNvPr id="20" name="圆角矩形 19"/>
            <p:cNvSpPr/>
            <p:nvPr/>
          </p:nvSpPr>
          <p:spPr>
            <a:xfrm>
              <a:off x="1527568" y="1710856"/>
              <a:ext cx="1080120" cy="1080120"/>
            </a:xfrm>
            <a:prstGeom prst="roundRect">
              <a:avLst/>
            </a:prstGeom>
            <a:ln>
              <a:noFill/>
            </a:ln>
          </p:spPr>
          <p:style>
            <a:lnRef idx="1">
              <a:schemeClr val="dk1"/>
            </a:lnRef>
            <a:fillRef idx="1002">
              <a:schemeClr val="lt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547664" y="1844824"/>
              <a:ext cx="1080120" cy="76988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zh-CN" altLang="en-US" sz="2200" b="1" i="0" dirty="0" smtClean="0">
                  <a:ln w="6350" cmpd="sng">
                    <a:noFill/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glow rad="101600">
                      <a:schemeClr val="bg1">
                        <a:alpha val="60000"/>
                      </a:schemeClr>
                    </a:glow>
                  </a:effectLst>
                  <a:latin typeface="+mn-ea"/>
                  <a:ea typeface="+mn-ea"/>
                </a:rPr>
                <a:t>登录</a:t>
              </a:r>
              <a:endParaRPr lang="en-US" altLang="zh-CN" sz="2200" b="1" i="0" dirty="0" smtClean="0">
                <a:ln w="6350" cmpd="sng">
                  <a:noFill/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+mn-ea"/>
                <a:ea typeface="+mn-ea"/>
              </a:endParaRPr>
            </a:p>
            <a:p>
              <a:pPr algn="ctr">
                <a:defRPr/>
              </a:pPr>
              <a:r>
                <a:rPr lang="zh-CN" altLang="en-US" sz="2200" b="1" i="0" dirty="0" smtClean="0">
                  <a:ln w="6350" cmpd="sng">
                    <a:noFill/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glow rad="101600">
                      <a:schemeClr val="bg1">
                        <a:alpha val="60000"/>
                      </a:schemeClr>
                    </a:glow>
                  </a:effectLst>
                  <a:latin typeface="+mn-ea"/>
                  <a:ea typeface="+mn-ea"/>
                </a:rPr>
                <a:t>系统</a:t>
              </a:r>
              <a:endParaRPr lang="zh-CN" altLang="en-US" sz="2200" b="1" i="0" dirty="0">
                <a:ln w="6350" cmpd="sng">
                  <a:noFill/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+mn-ea"/>
                <a:ea typeface="+mn-ea"/>
              </a:endParaRPr>
            </a:p>
          </p:txBody>
        </p:sp>
      </p:grpSp>
      <p:sp>
        <p:nvSpPr>
          <p:cNvPr id="57" name="圆角矩形 56"/>
          <p:cNvSpPr/>
          <p:nvPr/>
        </p:nvSpPr>
        <p:spPr bwMode="auto">
          <a:xfrm>
            <a:off x="1015115" y="1144547"/>
            <a:ext cx="1086688" cy="1086665"/>
          </a:xfrm>
          <a:prstGeom prst="roundRect">
            <a:avLst>
              <a:gd name="adj" fmla="val 20156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270000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prst="convex"/>
            <a:bevelB w="0" h="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r>
              <a:rPr lang="zh-CN" altLang="en-US" sz="2000" i="0" dirty="0">
                <a:ln w="3175" cmpd="sng">
                  <a:solidFill>
                    <a:schemeClr val="bg1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rPr>
              <a:t>用户</a:t>
            </a:r>
          </a:p>
        </p:txBody>
      </p:sp>
      <p:sp>
        <p:nvSpPr>
          <p:cNvPr id="58" name="右箭头 57"/>
          <p:cNvSpPr/>
          <p:nvPr/>
        </p:nvSpPr>
        <p:spPr bwMode="auto">
          <a:xfrm rot="5400000">
            <a:off x="4453112" y="2231816"/>
            <a:ext cx="271722" cy="407584"/>
          </a:xfrm>
          <a:prstGeom prst="rightArrow">
            <a:avLst>
              <a:gd name="adj1" fmla="val 50000"/>
              <a:gd name="adj2" fmla="val 70932"/>
            </a:avLst>
          </a:prstGeom>
          <a:ln>
            <a:noFill/>
          </a:ln>
        </p:spPr>
        <p:style>
          <a:lnRef idx="1">
            <a:schemeClr val="dk1"/>
          </a:lnRef>
          <a:fillRef idx="1002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grpSp>
        <p:nvGrpSpPr>
          <p:cNvPr id="39" name="组合 15"/>
          <p:cNvGrpSpPr>
            <a:grpSpLocks/>
          </p:cNvGrpSpPr>
          <p:nvPr/>
        </p:nvGrpSpPr>
        <p:grpSpPr bwMode="auto">
          <a:xfrm>
            <a:off x="1872668" y="4109635"/>
            <a:ext cx="1037844" cy="1018374"/>
            <a:chOff x="1527568" y="1710856"/>
            <a:chExt cx="1100216" cy="1080120"/>
          </a:xfrm>
        </p:grpSpPr>
        <p:sp>
          <p:nvSpPr>
            <p:cNvPr id="40" name="圆角矩形 39"/>
            <p:cNvSpPr/>
            <p:nvPr/>
          </p:nvSpPr>
          <p:spPr>
            <a:xfrm>
              <a:off x="1527568" y="1710856"/>
              <a:ext cx="1080120" cy="1080120"/>
            </a:xfrm>
            <a:prstGeom prst="roundRect">
              <a:avLst/>
            </a:prstGeom>
            <a:ln>
              <a:noFill/>
            </a:ln>
          </p:spPr>
          <p:style>
            <a:lnRef idx="1">
              <a:schemeClr val="dk1"/>
            </a:lnRef>
            <a:fillRef idx="1002">
              <a:schemeClr val="lt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547664" y="1844824"/>
              <a:ext cx="1080120" cy="81609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zh-CN" altLang="en-US" sz="2200" b="1" i="0" dirty="0" smtClean="0">
                  <a:ln w="6350" cmpd="sng">
                    <a:noFill/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glow rad="101600">
                      <a:schemeClr val="bg1">
                        <a:alpha val="60000"/>
                      </a:schemeClr>
                    </a:glow>
                  </a:effectLst>
                  <a:latin typeface="+mn-ea"/>
                  <a:ea typeface="+mn-ea"/>
                </a:rPr>
                <a:t>个人信息</a:t>
              </a:r>
              <a:endParaRPr lang="zh-CN" altLang="en-US" sz="2200" b="1" i="0" dirty="0">
                <a:ln w="6350" cmpd="sng">
                  <a:noFill/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+mn-ea"/>
                <a:ea typeface="+mn-ea"/>
              </a:endParaRPr>
            </a:p>
          </p:txBody>
        </p:sp>
      </p:grpSp>
      <p:grpSp>
        <p:nvGrpSpPr>
          <p:cNvPr id="42" name="组合 15"/>
          <p:cNvGrpSpPr>
            <a:grpSpLocks/>
          </p:cNvGrpSpPr>
          <p:nvPr/>
        </p:nvGrpSpPr>
        <p:grpSpPr bwMode="auto">
          <a:xfrm>
            <a:off x="3334548" y="4109635"/>
            <a:ext cx="1037844" cy="1018374"/>
            <a:chOff x="1527568" y="1710856"/>
            <a:chExt cx="1100216" cy="1080120"/>
          </a:xfrm>
        </p:grpSpPr>
        <p:sp>
          <p:nvSpPr>
            <p:cNvPr id="48" name="圆角矩形 47"/>
            <p:cNvSpPr/>
            <p:nvPr/>
          </p:nvSpPr>
          <p:spPr>
            <a:xfrm>
              <a:off x="1527568" y="1710856"/>
              <a:ext cx="1080120" cy="1080120"/>
            </a:xfrm>
            <a:prstGeom prst="roundRect">
              <a:avLst/>
            </a:prstGeom>
            <a:ln>
              <a:noFill/>
            </a:ln>
          </p:spPr>
          <p:style>
            <a:lnRef idx="1">
              <a:schemeClr val="dk1"/>
            </a:lnRef>
            <a:fillRef idx="1002">
              <a:schemeClr val="lt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1547664" y="1844824"/>
              <a:ext cx="1080120" cy="81609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zh-CN" altLang="en-US" sz="2200" b="1" i="0" dirty="0" smtClean="0">
                  <a:ln w="6350" cmpd="sng">
                    <a:noFill/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glow rad="101600">
                      <a:schemeClr val="bg1">
                        <a:alpha val="60000"/>
                      </a:schemeClr>
                    </a:glow>
                  </a:effectLst>
                  <a:latin typeface="+mn-ea"/>
                  <a:ea typeface="+mn-ea"/>
                </a:rPr>
                <a:t>早餐调查</a:t>
              </a:r>
              <a:endParaRPr lang="zh-CN" altLang="en-US" sz="2200" b="1" i="0" dirty="0">
                <a:ln w="6350" cmpd="sng">
                  <a:noFill/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+mn-ea"/>
                <a:ea typeface="+mn-ea"/>
              </a:endParaRPr>
            </a:p>
          </p:txBody>
        </p:sp>
      </p:grpSp>
      <p:grpSp>
        <p:nvGrpSpPr>
          <p:cNvPr id="50" name="组合 15"/>
          <p:cNvGrpSpPr>
            <a:grpSpLocks/>
          </p:cNvGrpSpPr>
          <p:nvPr/>
        </p:nvGrpSpPr>
        <p:grpSpPr bwMode="auto">
          <a:xfrm>
            <a:off x="4796427" y="4118620"/>
            <a:ext cx="1037844" cy="1018374"/>
            <a:chOff x="1527568" y="1710856"/>
            <a:chExt cx="1100216" cy="1080120"/>
          </a:xfrm>
        </p:grpSpPr>
        <p:sp>
          <p:nvSpPr>
            <p:cNvPr id="51" name="圆角矩形 50"/>
            <p:cNvSpPr/>
            <p:nvPr/>
          </p:nvSpPr>
          <p:spPr>
            <a:xfrm>
              <a:off x="1527568" y="1710856"/>
              <a:ext cx="1080120" cy="1080120"/>
            </a:xfrm>
            <a:prstGeom prst="roundRect">
              <a:avLst/>
            </a:prstGeom>
            <a:ln>
              <a:noFill/>
            </a:ln>
          </p:spPr>
          <p:style>
            <a:lnRef idx="1">
              <a:schemeClr val="dk1"/>
            </a:lnRef>
            <a:fillRef idx="1002">
              <a:schemeClr val="lt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1547664" y="1844824"/>
              <a:ext cx="1080120" cy="81609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zh-CN" altLang="en-US" sz="2200" b="1" i="0" dirty="0" smtClean="0">
                  <a:ln w="6350" cmpd="sng">
                    <a:noFill/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glow rad="101600">
                      <a:schemeClr val="bg1">
                        <a:alpha val="60000"/>
                      </a:schemeClr>
                    </a:glow>
                  </a:effectLst>
                  <a:latin typeface="+mn-ea"/>
                  <a:ea typeface="+mn-ea"/>
                </a:rPr>
                <a:t>家庭调查</a:t>
              </a:r>
              <a:endParaRPr lang="zh-CN" altLang="en-US" sz="2200" b="1" i="0" dirty="0">
                <a:ln w="6350" cmpd="sng">
                  <a:noFill/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+mn-ea"/>
                <a:ea typeface="+mn-ea"/>
              </a:endParaRPr>
            </a:p>
          </p:txBody>
        </p:sp>
      </p:grpSp>
      <p:grpSp>
        <p:nvGrpSpPr>
          <p:cNvPr id="53" name="组合 15"/>
          <p:cNvGrpSpPr>
            <a:grpSpLocks/>
          </p:cNvGrpSpPr>
          <p:nvPr/>
        </p:nvGrpSpPr>
        <p:grpSpPr bwMode="auto">
          <a:xfrm>
            <a:off x="6258306" y="4118620"/>
            <a:ext cx="1037844" cy="1018374"/>
            <a:chOff x="1527568" y="1710856"/>
            <a:chExt cx="1100216" cy="1080120"/>
          </a:xfrm>
        </p:grpSpPr>
        <p:sp>
          <p:nvSpPr>
            <p:cNvPr id="54" name="圆角矩形 53"/>
            <p:cNvSpPr/>
            <p:nvPr/>
          </p:nvSpPr>
          <p:spPr>
            <a:xfrm>
              <a:off x="1527568" y="1710856"/>
              <a:ext cx="1080120" cy="1080120"/>
            </a:xfrm>
            <a:prstGeom prst="roundRect">
              <a:avLst/>
            </a:prstGeom>
            <a:ln>
              <a:noFill/>
            </a:ln>
          </p:spPr>
          <p:style>
            <a:lnRef idx="1">
              <a:schemeClr val="dk1"/>
            </a:lnRef>
            <a:fillRef idx="1002">
              <a:schemeClr val="lt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547664" y="1844824"/>
              <a:ext cx="1080120" cy="81609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zh-CN" altLang="en-US" sz="2200" b="1" i="0" dirty="0" smtClean="0">
                  <a:ln w="6350" cmpd="sng">
                    <a:noFill/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glow rad="101600">
                      <a:schemeClr val="bg1">
                        <a:alpha val="60000"/>
                      </a:schemeClr>
                    </a:glow>
                  </a:effectLst>
                  <a:latin typeface="+mn-ea"/>
                  <a:ea typeface="+mn-ea"/>
                </a:rPr>
                <a:t>习惯调查</a:t>
              </a:r>
              <a:endParaRPr lang="zh-CN" altLang="en-US" sz="2200" b="1" i="0" dirty="0">
                <a:ln w="6350" cmpd="sng">
                  <a:noFill/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+mn-ea"/>
                <a:ea typeface="+mn-ea"/>
              </a:endParaRPr>
            </a:p>
          </p:txBody>
        </p:sp>
      </p:grpSp>
      <p:sp>
        <p:nvSpPr>
          <p:cNvPr id="59" name="右箭头 58"/>
          <p:cNvSpPr/>
          <p:nvPr/>
        </p:nvSpPr>
        <p:spPr bwMode="auto">
          <a:xfrm>
            <a:off x="2992727" y="4404074"/>
            <a:ext cx="271723" cy="407584"/>
          </a:xfrm>
          <a:prstGeom prst="rightArrow">
            <a:avLst>
              <a:gd name="adj1" fmla="val 50000"/>
              <a:gd name="adj2" fmla="val 70932"/>
            </a:avLst>
          </a:prstGeom>
          <a:ln>
            <a:noFill/>
          </a:ln>
        </p:spPr>
        <p:style>
          <a:lnRef idx="1">
            <a:schemeClr val="dk1"/>
          </a:lnRef>
          <a:fillRef idx="1002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62" name="右箭头 61"/>
          <p:cNvSpPr/>
          <p:nvPr/>
        </p:nvSpPr>
        <p:spPr bwMode="auto">
          <a:xfrm>
            <a:off x="4453112" y="4404074"/>
            <a:ext cx="271723" cy="407584"/>
          </a:xfrm>
          <a:prstGeom prst="rightArrow">
            <a:avLst>
              <a:gd name="adj1" fmla="val 50000"/>
              <a:gd name="adj2" fmla="val 70932"/>
            </a:avLst>
          </a:prstGeom>
          <a:ln>
            <a:noFill/>
          </a:ln>
        </p:spPr>
        <p:style>
          <a:lnRef idx="1">
            <a:schemeClr val="dk1"/>
          </a:lnRef>
          <a:fillRef idx="1002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67" name="右箭头 66"/>
          <p:cNvSpPr/>
          <p:nvPr/>
        </p:nvSpPr>
        <p:spPr bwMode="auto">
          <a:xfrm>
            <a:off x="5913065" y="4413059"/>
            <a:ext cx="271723" cy="407584"/>
          </a:xfrm>
          <a:prstGeom prst="rightArrow">
            <a:avLst>
              <a:gd name="adj1" fmla="val 50000"/>
              <a:gd name="adj2" fmla="val 70932"/>
            </a:avLst>
          </a:prstGeom>
          <a:ln>
            <a:noFill/>
          </a:ln>
        </p:spPr>
        <p:style>
          <a:lnRef idx="1">
            <a:schemeClr val="dk1"/>
          </a:lnRef>
          <a:fillRef idx="1002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69" name="右箭头 68"/>
          <p:cNvSpPr/>
          <p:nvPr/>
        </p:nvSpPr>
        <p:spPr bwMode="auto">
          <a:xfrm rot="5400000">
            <a:off x="4453112" y="3722357"/>
            <a:ext cx="271722" cy="407584"/>
          </a:xfrm>
          <a:prstGeom prst="rightArrow">
            <a:avLst>
              <a:gd name="adj1" fmla="val 50000"/>
              <a:gd name="adj2" fmla="val 70932"/>
            </a:avLst>
          </a:prstGeom>
          <a:ln>
            <a:noFill/>
          </a:ln>
        </p:spPr>
        <p:style>
          <a:lnRef idx="1">
            <a:schemeClr val="dk1"/>
          </a:lnRef>
          <a:fillRef idx="1002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grpSp>
        <p:nvGrpSpPr>
          <p:cNvPr id="70" name="组合 15"/>
          <p:cNvGrpSpPr>
            <a:grpSpLocks/>
          </p:cNvGrpSpPr>
          <p:nvPr/>
        </p:nvGrpSpPr>
        <p:grpSpPr bwMode="auto">
          <a:xfrm>
            <a:off x="4070051" y="5521033"/>
            <a:ext cx="1037844" cy="1018374"/>
            <a:chOff x="1527568" y="1710856"/>
            <a:chExt cx="1100216" cy="1080120"/>
          </a:xfrm>
        </p:grpSpPr>
        <p:sp>
          <p:nvSpPr>
            <p:cNvPr id="71" name="圆角矩形 70"/>
            <p:cNvSpPr/>
            <p:nvPr/>
          </p:nvSpPr>
          <p:spPr>
            <a:xfrm>
              <a:off x="1527568" y="1710856"/>
              <a:ext cx="1080120" cy="1080120"/>
            </a:xfrm>
            <a:prstGeom prst="roundRect">
              <a:avLst/>
            </a:prstGeom>
            <a:ln>
              <a:noFill/>
            </a:ln>
          </p:spPr>
          <p:style>
            <a:lnRef idx="1">
              <a:schemeClr val="dk1"/>
            </a:lnRef>
            <a:fillRef idx="1002">
              <a:schemeClr val="lt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/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547664" y="1844824"/>
              <a:ext cx="1080120" cy="81609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zh-CN" altLang="en-US" sz="2200" b="1" i="0" dirty="0" smtClean="0">
                  <a:ln w="6350" cmpd="sng">
                    <a:noFill/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glow rad="101600">
                      <a:schemeClr val="bg1">
                        <a:alpha val="60000"/>
                      </a:schemeClr>
                    </a:glow>
                  </a:effectLst>
                  <a:latin typeface="+mn-ea"/>
                  <a:ea typeface="+mn-ea"/>
                </a:rPr>
                <a:t>正式提交</a:t>
              </a:r>
              <a:endParaRPr lang="zh-CN" altLang="en-US" sz="2200" b="1" i="0" dirty="0">
                <a:ln w="6350" cmpd="sng">
                  <a:noFill/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+mn-ea"/>
                <a:ea typeface="+mn-ea"/>
              </a:endParaRPr>
            </a:p>
          </p:txBody>
        </p:sp>
      </p:grpSp>
      <p:sp>
        <p:nvSpPr>
          <p:cNvPr id="74" name="右箭头 73"/>
          <p:cNvSpPr/>
          <p:nvPr/>
        </p:nvSpPr>
        <p:spPr bwMode="auto">
          <a:xfrm rot="5400000">
            <a:off x="4453112" y="5109494"/>
            <a:ext cx="271722" cy="407584"/>
          </a:xfrm>
          <a:prstGeom prst="rightArrow">
            <a:avLst>
              <a:gd name="adj1" fmla="val 50000"/>
              <a:gd name="adj2" fmla="val 70932"/>
            </a:avLst>
          </a:prstGeom>
          <a:ln>
            <a:noFill/>
          </a:ln>
        </p:spPr>
        <p:style>
          <a:lnRef idx="1">
            <a:schemeClr val="dk1"/>
          </a:lnRef>
          <a:fillRef idx="1002">
            <a:schemeClr val="lt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28564721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实际体验</a:t>
            </a:r>
            <a:endParaRPr lang="zh-CN" altLang="en-US" dirty="0"/>
          </a:p>
        </p:txBody>
      </p:sp>
      <p:grpSp>
        <p:nvGrpSpPr>
          <p:cNvPr id="8" name="组合 7"/>
          <p:cNvGrpSpPr/>
          <p:nvPr/>
        </p:nvGrpSpPr>
        <p:grpSpPr>
          <a:xfrm>
            <a:off x="5114038" y="1710052"/>
            <a:ext cx="3608366" cy="4222960"/>
            <a:chOff x="552659" y="1045748"/>
            <a:chExt cx="5278986" cy="694798"/>
          </a:xfrm>
        </p:grpSpPr>
        <p:sp>
          <p:nvSpPr>
            <p:cNvPr id="9" name="AutoShap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white">
            <a:xfrm>
              <a:off x="552659" y="1045748"/>
              <a:ext cx="5278986" cy="694798"/>
            </a:xfrm>
            <a:prstGeom prst="roundRect">
              <a:avLst>
                <a:gd name="adj" fmla="val 3689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0">
                    <a:schemeClr val="accent2">
                      <a:lumMod val="75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coolSlan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6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10846" y="1073845"/>
              <a:ext cx="5176696" cy="6583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请按照如下步骤体验申报</a:t>
              </a:r>
              <a:endParaRPr lang="zh-CN" altLang="en-US" sz="2000" b="1" i="0" spc="50" dirty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5357257" y="2516672"/>
            <a:ext cx="3264229" cy="757130"/>
            <a:chOff x="5357257" y="2516672"/>
            <a:chExt cx="3264229" cy="757130"/>
          </a:xfrm>
        </p:grpSpPr>
        <p:sp>
          <p:nvSpPr>
            <p:cNvPr id="11" name="圆角矩形 10"/>
            <p:cNvSpPr/>
            <p:nvPr/>
          </p:nvSpPr>
          <p:spPr bwMode="auto">
            <a:xfrm>
              <a:off x="5357257" y="2637248"/>
              <a:ext cx="367214" cy="367207"/>
            </a:xfrm>
            <a:prstGeom prst="roundRect">
              <a:avLst>
                <a:gd name="adj" fmla="val 20156"/>
              </a:avLst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/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lang="zh-CN" altLang="en-US" sz="1600" i="0" dirty="0" smtClean="0">
                  <a:ln w="3175" cmpd="sng">
                    <a:solidFill>
                      <a:schemeClr val="bg1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１</a:t>
              </a:r>
              <a:endParaRPr lang="zh-CN" altLang="en-US" sz="1600" i="0" dirty="0">
                <a:ln w="3175" cmpd="sng">
                  <a:solidFill>
                    <a:schemeClr val="bg1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5798577" y="2516672"/>
              <a:ext cx="2822909" cy="757130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华文细黑" pitchFamily="2" charset="-122"/>
                </a:rPr>
                <a:t>设置</a:t>
              </a:r>
              <a:r>
                <a:rPr lang="zh-CN" altLang="en-US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华文细黑" pitchFamily="2" charset="-122"/>
                </a:rPr>
                <a:t>笔记本电脑，加入名为 </a:t>
              </a:r>
              <a:r>
                <a:rPr lang="en-US" altLang="zh-CN" b="1" i="0" spc="50" dirty="0" smtClean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华文细黑" pitchFamily="2" charset="-122"/>
                </a:rPr>
                <a:t>CAST </a:t>
              </a:r>
              <a:r>
                <a:rPr lang="en-US" altLang="zh-CN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华文细黑" pitchFamily="2" charset="-122"/>
                </a:rPr>
                <a:t> </a:t>
              </a:r>
              <a:r>
                <a:rPr lang="zh-CN" altLang="en-US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华文细黑" pitchFamily="2" charset="-122"/>
                </a:rPr>
                <a:t>的无线网络。</a:t>
              </a:r>
              <a:endParaRPr lang="zh-CN" altLang="en-US" b="1" i="0" spc="50" dirty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华文细黑" pitchFamily="2" charset="-122"/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5357257" y="3531999"/>
            <a:ext cx="3264229" cy="1089529"/>
            <a:chOff x="5357257" y="3461663"/>
            <a:chExt cx="3264229" cy="1089529"/>
          </a:xfrm>
        </p:grpSpPr>
        <p:sp>
          <p:nvSpPr>
            <p:cNvPr id="13" name="圆角矩形 12"/>
            <p:cNvSpPr/>
            <p:nvPr/>
          </p:nvSpPr>
          <p:spPr bwMode="auto">
            <a:xfrm>
              <a:off x="5357257" y="3582239"/>
              <a:ext cx="367214" cy="367207"/>
            </a:xfrm>
            <a:prstGeom prst="roundRect">
              <a:avLst>
                <a:gd name="adj" fmla="val 20156"/>
              </a:avLst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/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lang="en-US" altLang="zh-CN" sz="1600" i="0" dirty="0">
                  <a:ln w="3175" cmpd="sng">
                    <a:solidFill>
                      <a:schemeClr val="bg1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2</a:t>
              </a:r>
              <a:endParaRPr lang="zh-CN" altLang="en-US" sz="1600" i="0" dirty="0">
                <a:ln w="3175" cmpd="sng">
                  <a:solidFill>
                    <a:schemeClr val="bg1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798577" y="3461663"/>
              <a:ext cx="2822909" cy="1089529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华文细黑" pitchFamily="2" charset="-122"/>
                </a:rPr>
                <a:t>打开浏览器，在地址栏输入如下网址，并回车：</a:t>
              </a:r>
              <a:endParaRPr lang="en-US" altLang="zh-CN" b="1" i="0" spc="50" dirty="0" smtClean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华文细黑" pitchFamily="2" charset="-122"/>
              </a:endParaRPr>
            </a:p>
            <a:p>
              <a:pPr>
                <a:lnSpc>
                  <a:spcPct val="120000"/>
                </a:lnSpc>
              </a:pPr>
              <a:r>
                <a:rPr lang="en-US" altLang="zh-CN" b="1" i="0" spc="50" dirty="0" smtClean="0">
                  <a:ln w="11430"/>
                  <a:solidFill>
                    <a:srgbClr val="C00000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华文细黑" pitchFamily="2" charset="-122"/>
                </a:rPr>
                <a:t>http://192.168.1.2/</a:t>
              </a:r>
              <a:endParaRPr lang="zh-CN" altLang="en-US" b="1" i="0" spc="50" dirty="0">
                <a:ln w="11430"/>
                <a:solidFill>
                  <a:srgbClr val="C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华文细黑" pitchFamily="2" charset="-122"/>
              </a:endParaRP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5357257" y="4880371"/>
            <a:ext cx="3264229" cy="397351"/>
            <a:chOff x="5357257" y="3552095"/>
            <a:chExt cx="3264229" cy="397351"/>
          </a:xfrm>
        </p:grpSpPr>
        <p:sp>
          <p:nvSpPr>
            <p:cNvPr id="18" name="圆角矩形 17"/>
            <p:cNvSpPr/>
            <p:nvPr/>
          </p:nvSpPr>
          <p:spPr bwMode="auto">
            <a:xfrm>
              <a:off x="5357257" y="3582239"/>
              <a:ext cx="367214" cy="367207"/>
            </a:xfrm>
            <a:prstGeom prst="roundRect">
              <a:avLst>
                <a:gd name="adj" fmla="val 20156"/>
              </a:avLst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/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r>
                <a:rPr lang="en-US" altLang="zh-CN" sz="1600" i="0" dirty="0" smtClean="0">
                  <a:ln w="3175" cmpd="sng">
                    <a:solidFill>
                      <a:schemeClr val="bg1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3</a:t>
              </a:r>
              <a:endParaRPr lang="zh-CN" altLang="en-US" sz="1600" i="0" dirty="0">
                <a:ln w="3175" cmpd="sng">
                  <a:solidFill>
                    <a:schemeClr val="bg1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798577" y="3552095"/>
              <a:ext cx="2822909" cy="39504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华文细黑" pitchFamily="2" charset="-122"/>
                </a:rPr>
                <a:t>按照说明进行操作。</a:t>
              </a:r>
              <a:endParaRPr lang="zh-CN" altLang="en-US" b="1" i="0" spc="50" dirty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华文细黑" pitchFamily="2" charset="-122"/>
              </a:endParaRPr>
            </a:p>
          </p:txBody>
        </p:sp>
      </p:grpSp>
      <p:sp>
        <p:nvSpPr>
          <p:cNvPr id="21" name="动作按钮: 自定义 20">
            <a:hlinkClick r:id="rId3" highlightClick="1"/>
          </p:cNvPr>
          <p:cNvSpPr/>
          <p:nvPr/>
        </p:nvSpPr>
        <p:spPr bwMode="auto">
          <a:xfrm>
            <a:off x="354843" y="1569493"/>
            <a:ext cx="4599295" cy="4408226"/>
          </a:xfrm>
          <a:prstGeom prst="actionButtonBlank">
            <a:avLst/>
          </a:prstGeom>
          <a:blipFill dpi="0" rotWithShape="1">
            <a:blip r:embed="rId4" cstate="print"/>
            <a:srcRect/>
            <a:tile tx="0" ty="0" sx="100000" sy="100000" flip="none" algn="tl"/>
          </a:blip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0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296226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疑难解答</a:t>
            </a:r>
            <a:endParaRPr lang="zh-CN" altLang="en-US" dirty="0"/>
          </a:p>
        </p:txBody>
      </p:sp>
      <p:grpSp>
        <p:nvGrpSpPr>
          <p:cNvPr id="3" name="组合 2"/>
          <p:cNvGrpSpPr/>
          <p:nvPr/>
        </p:nvGrpSpPr>
        <p:grpSpPr>
          <a:xfrm>
            <a:off x="532956" y="1345755"/>
            <a:ext cx="3762817" cy="1349820"/>
            <a:chOff x="593245" y="1290285"/>
            <a:chExt cx="7897611" cy="1473293"/>
          </a:xfrm>
        </p:grpSpPr>
        <p:sp>
          <p:nvSpPr>
            <p:cNvPr id="4" name="AutoShape 81"/>
            <p:cNvSpPr>
              <a:spLocks noChangeArrowheads="1"/>
            </p:cNvSpPr>
            <p:nvPr/>
          </p:nvSpPr>
          <p:spPr bwMode="auto">
            <a:xfrm>
              <a:off x="593245" y="1290285"/>
              <a:ext cx="7897611" cy="1473293"/>
            </a:xfrm>
            <a:prstGeom prst="roundRect">
              <a:avLst>
                <a:gd name="adj" fmla="val 145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artDeco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844764" y="1496851"/>
              <a:ext cx="7471298" cy="1110812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>
              <a:defPPr>
                <a:defRPr lang="zh-CN"/>
              </a:defPPr>
              <a:lvl1pPr algn="ctr">
                <a:defRPr sz="2400" b="1" i="0" spc="5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defRPr>
              </a:lvl1pPr>
            </a:lstStyle>
            <a:p>
              <a:pPr algn="l">
                <a:lnSpc>
                  <a:spcPct val="120000"/>
                </a:lnSpc>
              </a:pPr>
              <a:r>
                <a:rPr lang="zh-CN" altLang="en-US" sz="2000" dirty="0"/>
                <a:t>　　</a:t>
              </a:r>
              <a:r>
                <a:rPr lang="zh-CN" altLang="en-US" sz="2000" dirty="0" smtClean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注册</a:t>
              </a:r>
              <a:r>
                <a:rPr lang="zh-CN" altLang="en-US" sz="2000" dirty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账号时，学生没有电子邮箱，该怎么办？</a:t>
              </a: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532958" y="2849125"/>
            <a:ext cx="3762817" cy="3494525"/>
            <a:chOff x="552658" y="1045748"/>
            <a:chExt cx="10557974" cy="1807875"/>
          </a:xfrm>
        </p:grpSpPr>
        <p:sp>
          <p:nvSpPr>
            <p:cNvPr id="7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white">
            <a:xfrm>
              <a:off x="552658" y="1045748"/>
              <a:ext cx="10557974" cy="1807875"/>
            </a:xfrm>
            <a:prstGeom prst="roundRect">
              <a:avLst>
                <a:gd name="adj" fmla="val 3145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0">
                    <a:schemeClr val="accent2">
                      <a:lumMod val="75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coolSlan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835445" y="1112232"/>
              <a:ext cx="9988054" cy="985945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just">
                <a:lnSpc>
                  <a:spcPct val="120000"/>
                </a:lnSpc>
              </a:pP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　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　电子</a:t>
              </a: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邮箱将在通知注册信息、找回密码等场合使用，因此必须填写。如果学生没有邮箱，建议可以填写其父母或者指导教师的邮箱。</a:t>
              </a: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4847781" y="1345755"/>
            <a:ext cx="3762817" cy="1349818"/>
            <a:chOff x="593245" y="1290285"/>
            <a:chExt cx="7897611" cy="1473293"/>
          </a:xfrm>
        </p:grpSpPr>
        <p:sp>
          <p:nvSpPr>
            <p:cNvPr id="16" name="AutoShape 81"/>
            <p:cNvSpPr>
              <a:spLocks noChangeArrowheads="1"/>
            </p:cNvSpPr>
            <p:nvPr/>
          </p:nvSpPr>
          <p:spPr bwMode="auto">
            <a:xfrm>
              <a:off x="593245" y="1290285"/>
              <a:ext cx="7897611" cy="1473293"/>
            </a:xfrm>
            <a:prstGeom prst="roundRect">
              <a:avLst>
                <a:gd name="adj" fmla="val 145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artDeco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744803" y="1391835"/>
              <a:ext cx="7646092" cy="1310128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>
              <a:defPPr>
                <a:defRPr lang="zh-CN"/>
              </a:defPPr>
              <a:lvl1pPr algn="ctr">
                <a:defRPr sz="2400" b="1" i="0" spc="5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defRPr>
              </a:lvl1pPr>
            </a:lstStyle>
            <a:p>
              <a:pPr algn="l">
                <a:lnSpc>
                  <a:spcPct val="120000"/>
                </a:lnSpc>
              </a:pPr>
              <a:r>
                <a:rPr lang="zh-CN" altLang="en-US" sz="2000" dirty="0" smtClean="0"/>
                <a:t>　　</a:t>
              </a:r>
              <a:r>
                <a:rPr lang="zh-CN" altLang="en-US" sz="2000" dirty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注册账号时，没有在列表中找到自己所在的学校，该</a:t>
              </a:r>
              <a:r>
                <a:rPr lang="zh-CN" altLang="en-US" sz="2000" dirty="0" smtClean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怎么办？</a:t>
              </a:r>
              <a:endParaRPr lang="zh-CN" altLang="en-US" sz="2000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4847783" y="2849125"/>
            <a:ext cx="3762817" cy="3494525"/>
            <a:chOff x="552658" y="1045748"/>
            <a:chExt cx="10557974" cy="1807875"/>
          </a:xfrm>
        </p:grpSpPr>
        <p:sp>
          <p:nvSpPr>
            <p:cNvPr id="19" name="AutoShap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white">
            <a:xfrm>
              <a:off x="552658" y="1045748"/>
              <a:ext cx="10557974" cy="1807875"/>
            </a:xfrm>
            <a:prstGeom prst="roundRect">
              <a:avLst>
                <a:gd name="adj" fmla="val 3145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0">
                    <a:schemeClr val="accent2">
                      <a:lumMod val="75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coolSlan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835445" y="1112232"/>
              <a:ext cx="9988054" cy="1177017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just">
                <a:lnSpc>
                  <a:spcPct val="120000"/>
                </a:lnSpc>
              </a:pP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　　如果注册时没有在学校列表中找到自己的学校，请点击弹出选项窗口下方的“新增学校”链接，填写自己学校的名称、类型，提交保存即可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。</a:t>
              </a:r>
              <a:endParaRPr lang="zh-CN" altLang="en-US" sz="2000" b="1" i="0" spc="50" dirty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0665521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疑难解答</a:t>
            </a:r>
            <a:endParaRPr lang="zh-CN" altLang="en-US" dirty="0"/>
          </a:p>
        </p:txBody>
      </p:sp>
      <p:grpSp>
        <p:nvGrpSpPr>
          <p:cNvPr id="3" name="组合 2"/>
          <p:cNvGrpSpPr/>
          <p:nvPr/>
        </p:nvGrpSpPr>
        <p:grpSpPr>
          <a:xfrm>
            <a:off x="532956" y="1345755"/>
            <a:ext cx="3762817" cy="1349820"/>
            <a:chOff x="593245" y="1290285"/>
            <a:chExt cx="7897611" cy="1473293"/>
          </a:xfrm>
        </p:grpSpPr>
        <p:sp>
          <p:nvSpPr>
            <p:cNvPr id="4" name="AutoShape 81"/>
            <p:cNvSpPr>
              <a:spLocks noChangeArrowheads="1"/>
            </p:cNvSpPr>
            <p:nvPr/>
          </p:nvSpPr>
          <p:spPr bwMode="auto">
            <a:xfrm>
              <a:off x="593245" y="1290285"/>
              <a:ext cx="7897611" cy="1473293"/>
            </a:xfrm>
            <a:prstGeom prst="roundRect">
              <a:avLst>
                <a:gd name="adj" fmla="val 145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artDeco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844764" y="1569625"/>
              <a:ext cx="7471298" cy="907011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>
              <a:defPPr>
                <a:defRPr lang="zh-CN"/>
              </a:defPPr>
              <a:lvl1pPr algn="ctr">
                <a:defRPr sz="2400" b="1" i="0" spc="5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defRPr>
              </a:lvl1pPr>
            </a:lstStyle>
            <a:p>
              <a:pPr algn="l">
                <a:lnSpc>
                  <a:spcPct val="120000"/>
                </a:lnSpc>
              </a:pPr>
              <a:r>
                <a:rPr lang="zh-CN" altLang="en-US" sz="2000" dirty="0" smtClean="0"/>
                <a:t>　　</a:t>
              </a:r>
              <a:r>
                <a:rPr lang="zh-CN" altLang="en-US" sz="2000" dirty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学生忘记自己注册的账号或者密码</a:t>
              </a:r>
              <a:r>
                <a:rPr lang="zh-CN" altLang="en-US" sz="2000" dirty="0" smtClean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怎么办？</a:t>
              </a:r>
              <a:endParaRPr lang="zh-CN" altLang="en-US" sz="2000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532958" y="2849125"/>
            <a:ext cx="3762817" cy="3494520"/>
            <a:chOff x="552658" y="1045748"/>
            <a:chExt cx="10557974" cy="1807875"/>
          </a:xfrm>
        </p:grpSpPr>
        <p:sp>
          <p:nvSpPr>
            <p:cNvPr id="7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white">
            <a:xfrm>
              <a:off x="552658" y="1045748"/>
              <a:ext cx="10557974" cy="1807875"/>
            </a:xfrm>
            <a:prstGeom prst="roundRect">
              <a:avLst>
                <a:gd name="adj" fmla="val 3145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0">
                    <a:schemeClr val="accent2">
                      <a:lumMod val="75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coolSlan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969074" y="1146727"/>
              <a:ext cx="9740672" cy="1576346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just">
                <a:lnSpc>
                  <a:spcPct val="120000"/>
                </a:lnSpc>
              </a:pP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　　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可以</a:t>
              </a: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从注册时指定的电子邮箱中查找注册信息信件，参看邮件内容；或者通过找回密码功能找回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。</a:t>
              </a:r>
              <a:endParaRPr lang="en-US" altLang="zh-CN" sz="2000" b="1" i="0" spc="50" dirty="0" smtClean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  <a:p>
              <a:pPr algn="just">
                <a:lnSpc>
                  <a:spcPct val="120000"/>
                </a:lnSpc>
              </a:pP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　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　因</a:t>
              </a: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种种原因确实无法自助找回的，可以发送邮件至</a:t>
              </a:r>
              <a:r>
                <a:rPr lang="en-US" altLang="zh-CN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dcty@xiaoxiaotong.org</a:t>
              </a: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，请求组委会给予协助</a:t>
              </a:r>
              <a:r>
                <a:rPr lang="zh-CN" altLang="en-US" sz="2000" b="1" i="0" spc="50" dirty="0" smtClean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。</a:t>
              </a:r>
              <a:endParaRPr lang="zh-CN" altLang="en-US" sz="2000" b="1" i="0" spc="50" dirty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4847781" y="1345755"/>
            <a:ext cx="3762817" cy="1349818"/>
            <a:chOff x="593245" y="1290285"/>
            <a:chExt cx="7897611" cy="1473293"/>
          </a:xfrm>
        </p:grpSpPr>
        <p:sp>
          <p:nvSpPr>
            <p:cNvPr id="16" name="AutoShape 81"/>
            <p:cNvSpPr>
              <a:spLocks noChangeArrowheads="1"/>
            </p:cNvSpPr>
            <p:nvPr/>
          </p:nvSpPr>
          <p:spPr bwMode="auto">
            <a:xfrm>
              <a:off x="593245" y="1290285"/>
              <a:ext cx="7897611" cy="1473293"/>
            </a:xfrm>
            <a:prstGeom prst="roundRect">
              <a:avLst>
                <a:gd name="adj" fmla="val 145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FFCF01"/>
                  </a:gs>
                  <a:gs pos="100000">
                    <a:srgbClr val="E22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artDeco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744803" y="1558176"/>
              <a:ext cx="7646092" cy="907013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>
              <a:defPPr>
                <a:defRPr lang="zh-CN"/>
              </a:defPPr>
              <a:lvl1pPr algn="ctr">
                <a:defRPr sz="2400" b="1" i="0" spc="5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defRPr>
              </a:lvl1pPr>
            </a:lstStyle>
            <a:p>
              <a:pPr algn="l">
                <a:lnSpc>
                  <a:spcPct val="120000"/>
                </a:lnSpc>
              </a:pPr>
              <a:r>
                <a:rPr lang="zh-CN" altLang="en-US" sz="2000" dirty="0" smtClean="0"/>
                <a:t>　　</a:t>
              </a:r>
              <a:r>
                <a:rPr lang="zh-CN" altLang="en-US" sz="2000" dirty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填写数据时，可否中途退出，随后再次登录继续</a:t>
              </a:r>
              <a:r>
                <a:rPr lang="zh-CN" altLang="en-US" sz="2000" dirty="0" smtClean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微软雅黑" pitchFamily="34" charset="-122"/>
                  <a:ea typeface="微软雅黑" pitchFamily="34" charset="-122"/>
                </a:rPr>
                <a:t>填写？</a:t>
              </a:r>
              <a:endParaRPr lang="zh-CN" altLang="en-US" sz="2000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4847783" y="2849125"/>
            <a:ext cx="3762817" cy="3494525"/>
            <a:chOff x="552658" y="1045748"/>
            <a:chExt cx="10557974" cy="1807875"/>
          </a:xfrm>
        </p:grpSpPr>
        <p:sp>
          <p:nvSpPr>
            <p:cNvPr id="19" name="AutoShap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white">
            <a:xfrm>
              <a:off x="552658" y="1045748"/>
              <a:ext cx="10557974" cy="1807875"/>
            </a:xfrm>
            <a:prstGeom prst="roundRect">
              <a:avLst>
                <a:gd name="adj" fmla="val 3145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0">
                    <a:schemeClr val="accent2">
                      <a:lumMod val="75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coolSlan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835445" y="1112232"/>
              <a:ext cx="9988054" cy="1003128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　　网上填写数据时，</a:t>
              </a:r>
              <a:r>
                <a:rPr lang="en-US" altLang="zh-CN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4</a:t>
              </a:r>
              <a:r>
                <a:rPr lang="zh-CN" altLang="en-US" sz="2000" b="1" i="0" spc="50" dirty="0">
                  <a:ln w="11430"/>
                  <a:solidFill>
                    <a:schemeClr val="accent1"/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部分内容可以先后分几次填写完成。但是仅就其中某一部分内容而言，必须一次性填写完成并提交保存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6190289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nordridesign.com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6699"/>
      </a:accent1>
      <a:accent2>
        <a:srgbClr val="45ACDF"/>
      </a:accent2>
      <a:accent3>
        <a:srgbClr val="FFFFFF"/>
      </a:accent3>
      <a:accent4>
        <a:srgbClr val="000000"/>
      </a:accent4>
      <a:accent5>
        <a:srgbClr val="ADB8CA"/>
      </a:accent5>
      <a:accent6>
        <a:srgbClr val="3E9BCA"/>
      </a:accent6>
      <a:hlink>
        <a:srgbClr val="0099CC"/>
      </a:hlink>
      <a:folHlink>
        <a:srgbClr val="66CCFF"/>
      </a:folHlink>
    </a:clrScheme>
    <a:fontScheme name="NordriDesign_免费商务模板系列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宋体" pitchFamily="2" charset="-122"/>
          </a:defRPr>
        </a:defPPr>
      </a:lstStyle>
    </a:lnDef>
  </a:objectDefaults>
  <a:extraClrSchemeLst>
    <a:extraClrScheme>
      <a:clrScheme name="NordriDesign_免费商务模板系列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rdriDesign_免费商务模板系列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rdriDesign_免费商务模板系列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rdriDesign_免费商务模板系列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rdriDesign_免费商务模板系列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rdriDesign_免费商务模板系列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rdriDesign_免费商务模板系列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rdriDesign_免费商务模板系列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rdriDesign_免费商务模板系列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rdriDesign_免费商务模板系列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rdriDesign_免费商务模板系列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rdriDesign_免费商务模板系列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rdriDesign_免费商务模板系列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rdridesign.com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rdridesign.com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rdridesign.com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rdridesign.com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rdridesign.com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rdridesign.com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rdridesign.com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rdridesign.com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rdridesign.com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rdridesign.com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rdridesign.com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rdridesign.com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rdridesign.com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rdridesign.com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66CC"/>
        </a:accent1>
        <a:accent2>
          <a:srgbClr val="336699"/>
        </a:accent2>
        <a:accent3>
          <a:srgbClr val="FFFFFF"/>
        </a:accent3>
        <a:accent4>
          <a:srgbClr val="000000"/>
        </a:accent4>
        <a:accent5>
          <a:srgbClr val="AAB8E2"/>
        </a:accent5>
        <a:accent6>
          <a:srgbClr val="2D5C8A"/>
        </a:accent6>
        <a:hlink>
          <a:srgbClr val="00458A"/>
        </a:hlink>
        <a:folHlink>
          <a:srgbClr val="33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rdridesign.com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2D96FF"/>
        </a:accent1>
        <a:accent2>
          <a:srgbClr val="336699"/>
        </a:accent2>
        <a:accent3>
          <a:srgbClr val="FFFFFF"/>
        </a:accent3>
        <a:accent4>
          <a:srgbClr val="000000"/>
        </a:accent4>
        <a:accent5>
          <a:srgbClr val="ADC9FF"/>
        </a:accent5>
        <a:accent6>
          <a:srgbClr val="2D5C8A"/>
        </a:accent6>
        <a:hlink>
          <a:srgbClr val="00458A"/>
        </a:hlink>
        <a:folHlink>
          <a:srgbClr val="33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rdridesign.com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093DC"/>
        </a:accent1>
        <a:accent2>
          <a:srgbClr val="336699"/>
        </a:accent2>
        <a:accent3>
          <a:srgbClr val="FFFFFF"/>
        </a:accent3>
        <a:accent4>
          <a:srgbClr val="000000"/>
        </a:accent4>
        <a:accent5>
          <a:srgbClr val="B3C8EB"/>
        </a:accent5>
        <a:accent6>
          <a:srgbClr val="2D5C8A"/>
        </a:accent6>
        <a:hlink>
          <a:srgbClr val="00458A"/>
        </a:hlink>
        <a:folHlink>
          <a:srgbClr val="3399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80</TotalTime>
  <Words>532</Words>
  <Application>Microsoft Office PowerPoint</Application>
  <PresentationFormat>全屏显示(4:3)</PresentationFormat>
  <Paragraphs>126</Paragraphs>
  <Slides>19</Slides>
  <Notes>3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20" baseType="lpstr">
      <vt:lpstr>nordridesign.com</vt:lpstr>
      <vt:lpstr>2012年青少年科学调查体验活动 调查数据在线提交与网站功能使用</vt:lpstr>
      <vt:lpstr>简要说明</vt:lpstr>
      <vt:lpstr>整体结构</vt:lpstr>
      <vt:lpstr>使用条件</vt:lpstr>
      <vt:lpstr>提交内容</vt:lpstr>
      <vt:lpstr>简要流程</vt:lpstr>
      <vt:lpstr>实际体验</vt:lpstr>
      <vt:lpstr>疑难解答</vt:lpstr>
      <vt:lpstr>疑难解答</vt:lpstr>
      <vt:lpstr>疑难解答</vt:lpstr>
      <vt:lpstr>疑难解答</vt:lpstr>
      <vt:lpstr>疑难解答</vt:lpstr>
      <vt:lpstr>咨询途径</vt:lpstr>
      <vt:lpstr>使用说明</vt:lpstr>
      <vt:lpstr>活动手册下载</vt:lpstr>
      <vt:lpstr>请您提出宝贵意见和建议</vt:lpstr>
      <vt:lpstr>请您提出宝贵意见和建议</vt:lpstr>
      <vt:lpstr>请您提出宝贵意见和建议</vt:lpstr>
      <vt:lpstr>幻灯片 19</vt:lpstr>
    </vt:vector>
  </TitlesOfParts>
  <Company>NordriDesig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creator>NordriDesign</dc:creator>
  <cp:keywords>ppt幻灯设计/ppt模板设计</cp:keywords>
  <dc:description>nordridesign.com</dc:description>
  <cp:lastModifiedBy>番茄花园</cp:lastModifiedBy>
  <cp:revision>293</cp:revision>
  <dcterms:created xsi:type="dcterms:W3CDTF">2008-05-06T01:42:58Z</dcterms:created>
  <dcterms:modified xsi:type="dcterms:W3CDTF">2012-06-27T01:52:36Z</dcterms:modified>
</cp:coreProperties>
</file>